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2"/>
  </p:notesMasterIdLst>
  <p:sldIdLst>
    <p:sldId id="290" r:id="rId5"/>
    <p:sldId id="339" r:id="rId6"/>
    <p:sldId id="291" r:id="rId7"/>
    <p:sldId id="292" r:id="rId8"/>
    <p:sldId id="293" r:id="rId9"/>
    <p:sldId id="294" r:id="rId10"/>
    <p:sldId id="338" r:id="rId11"/>
  </p:sldIdLst>
  <p:sldSz cx="12192000" cy="6858000"/>
  <p:notesSz cx="7010400" cy="9296400"/>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97"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790B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FE77C09-59FF-4247-89D4-7ED5AB23D194}" v="11" dt="2023-12-15T16:11:53.12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667" autoAdjust="0"/>
    <p:restoredTop sz="73850" autoAdjust="0"/>
  </p:normalViewPr>
  <p:slideViewPr>
    <p:cSldViewPr snapToGrid="0" showGuides="1">
      <p:cViewPr varScale="1">
        <p:scale>
          <a:sx n="63" d="100"/>
          <a:sy n="63" d="100"/>
        </p:scale>
        <p:origin x="667" y="62"/>
      </p:cViewPr>
      <p:guideLst>
        <p:guide orient="horz" pos="3997"/>
        <p:guide pos="3840"/>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GB" dirty="0"/>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D2F5C6F3-21ED-4E49-8208-390069A65CA7}" type="datetimeFigureOut">
              <a:rPr lang="en-GB" smtClean="0"/>
              <a:t>15/12/2023</a:t>
            </a:fld>
            <a:endParaRPr lang="en-GB"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GB"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GB"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A3CB8DCD-04CC-48AF-8C4C-728BF154456A}" type="slidenum">
              <a:rPr lang="en-GB" smtClean="0"/>
              <a:t>‹#›</a:t>
            </a:fld>
            <a:endParaRPr lang="en-GB" dirty="0"/>
          </a:p>
        </p:txBody>
      </p:sp>
    </p:spTree>
    <p:extLst>
      <p:ext uri="{BB962C8B-B14F-4D97-AF65-F5344CB8AC3E}">
        <p14:creationId xmlns:p14="http://schemas.microsoft.com/office/powerpoint/2010/main" val="11216852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entley Universit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uquesne Universit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Paul Universit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t. Lawrence Universit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University of Dan Diego</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ochester Institute of Technolog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uffolk University BOST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orcester Polytechnic Institu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stminster Colleg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Union Colleg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ensselaer Polytechnic Institu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ollins Colleg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ustin Colleg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Pauw Universit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illsdale Colleg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anhattanville Colleg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stern New England Universit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Valparaiso Universit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avannah College pf Art and Desig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att Institu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A3CB8DCD-04CC-48AF-8C4C-728BF154456A}" type="slidenum">
              <a:rPr lang="en-GB" smtClean="0"/>
              <a:t>6</a:t>
            </a:fld>
            <a:endParaRPr lang="en-GB" dirty="0"/>
          </a:p>
        </p:txBody>
      </p:sp>
    </p:spTree>
    <p:extLst>
      <p:ext uri="{BB962C8B-B14F-4D97-AF65-F5344CB8AC3E}">
        <p14:creationId xmlns:p14="http://schemas.microsoft.com/office/powerpoint/2010/main" val="33721858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3.png"/><Relationship Id="rId5" Type="http://schemas.openxmlformats.org/officeDocument/2006/relationships/image" Target="../media/image4.jp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5AC2D876-37D4-E224-225D-86962B1C887E}"/>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9" name="Object 8" hidden="1">
            <a:extLst>
              <a:ext uri="{FF2B5EF4-FFF2-40B4-BE49-F238E27FC236}">
                <a16:creationId xmlns:a16="http://schemas.microsoft.com/office/drawing/2014/main" id="{854DC6D4-C661-1F7F-EC8A-2AEF55DE5293}"/>
              </a:ext>
            </a:extLst>
          </p:cNvPr>
          <p:cNvGraphicFramePr>
            <a:graphicFrameLocks noChangeAspect="1"/>
          </p:cNvGraphicFramePr>
          <p:nvPr userDrawn="1">
            <p:custDataLst>
              <p:tags r:id="rId2"/>
            </p:custDataLst>
            <p:extLst>
              <p:ext uri="{D42A27DB-BD31-4B8C-83A1-F6EECF244321}">
                <p14:modId xmlns:p14="http://schemas.microsoft.com/office/powerpoint/2010/main" val="3476493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854DC6D4-C661-1F7F-EC8A-2AEF55DE52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0839B51F-6A79-84AA-30F0-9FEA7D64936C}"/>
              </a:ext>
            </a:extLst>
          </p:cNvPr>
          <p:cNvSpPr/>
          <p:nvPr userDrawn="1"/>
        </p:nvSpPr>
        <p:spPr>
          <a:xfrm>
            <a:off x="0" y="0"/>
            <a:ext cx="12192000" cy="685800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 name="Freeform: Shape 18">
            <a:extLst>
              <a:ext uri="{FF2B5EF4-FFF2-40B4-BE49-F238E27FC236}">
                <a16:creationId xmlns:a16="http://schemas.microsoft.com/office/drawing/2014/main" id="{AFD7FB74-2872-EB69-8A3F-2EF9921CBB56}"/>
              </a:ext>
            </a:extLst>
          </p:cNvPr>
          <p:cNvSpPr/>
          <p:nvPr userDrawn="1"/>
        </p:nvSpPr>
        <p:spPr>
          <a:xfrm>
            <a:off x="6132936" y="1704976"/>
            <a:ext cx="5804843" cy="3387725"/>
          </a:xfrm>
          <a:custGeom>
            <a:avLst/>
            <a:gdLst>
              <a:gd name="connsiteX0" fmla="*/ 0 w 5804843"/>
              <a:gd name="connsiteY0" fmla="*/ 0 h 3387725"/>
              <a:gd name="connsiteX1" fmla="*/ 5804843 w 5804843"/>
              <a:gd name="connsiteY1" fmla="*/ 0 h 3387725"/>
              <a:gd name="connsiteX2" fmla="*/ 5804843 w 5804843"/>
              <a:gd name="connsiteY2" fmla="*/ 3387725 h 3387725"/>
              <a:gd name="connsiteX3" fmla="*/ 836360 w 5804843"/>
              <a:gd name="connsiteY3" fmla="*/ 3387725 h 3387725"/>
            </a:gdLst>
            <a:ahLst/>
            <a:cxnLst>
              <a:cxn ang="0">
                <a:pos x="connsiteX0" y="connsiteY0"/>
              </a:cxn>
              <a:cxn ang="0">
                <a:pos x="connsiteX1" y="connsiteY1"/>
              </a:cxn>
              <a:cxn ang="0">
                <a:pos x="connsiteX2" y="connsiteY2"/>
              </a:cxn>
              <a:cxn ang="0">
                <a:pos x="connsiteX3" y="connsiteY3"/>
              </a:cxn>
            </a:cxnLst>
            <a:rect l="l" t="t" r="r" b="b"/>
            <a:pathLst>
              <a:path w="5804843" h="3387725">
                <a:moveTo>
                  <a:pt x="0" y="0"/>
                </a:moveTo>
                <a:lnTo>
                  <a:pt x="5804843" y="0"/>
                </a:lnTo>
                <a:lnTo>
                  <a:pt x="5804843" y="3387725"/>
                </a:lnTo>
                <a:lnTo>
                  <a:pt x="836360" y="33877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 name="Title 1">
            <a:extLst>
              <a:ext uri="{FF2B5EF4-FFF2-40B4-BE49-F238E27FC236}">
                <a16:creationId xmlns:a16="http://schemas.microsoft.com/office/drawing/2014/main" id="{E82E04C1-9855-9F57-D805-95D527FB54DB}"/>
              </a:ext>
            </a:extLst>
          </p:cNvPr>
          <p:cNvSpPr>
            <a:spLocks noGrp="1"/>
          </p:cNvSpPr>
          <p:nvPr>
            <p:ph type="ctrTitle"/>
          </p:nvPr>
        </p:nvSpPr>
        <p:spPr>
          <a:xfrm>
            <a:off x="609600" y="2675712"/>
            <a:ext cx="4849640" cy="1354217"/>
          </a:xfrm>
        </p:spPr>
        <p:txBody>
          <a:bodyPr vert="horz" anchor="b"/>
          <a:lstStyle>
            <a:lvl1pPr algn="l">
              <a:defRPr sz="4400"/>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A4D05D72-F8E9-3FFC-1B6C-6C361ADF0F46}"/>
              </a:ext>
            </a:extLst>
          </p:cNvPr>
          <p:cNvSpPr>
            <a:spLocks noGrp="1"/>
          </p:cNvSpPr>
          <p:nvPr>
            <p:ph type="subTitle" idx="1"/>
          </p:nvPr>
        </p:nvSpPr>
        <p:spPr>
          <a:xfrm>
            <a:off x="609600" y="4290278"/>
            <a:ext cx="4849640" cy="307777"/>
          </a:xfrm>
        </p:spPr>
        <p:txBody>
          <a:bodyPr>
            <a:sp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4" name="Date Placeholder 3">
            <a:extLst>
              <a:ext uri="{FF2B5EF4-FFF2-40B4-BE49-F238E27FC236}">
                <a16:creationId xmlns:a16="http://schemas.microsoft.com/office/drawing/2014/main" id="{09509727-7AAF-CC2D-5129-89B32E263902}"/>
              </a:ext>
            </a:extLst>
          </p:cNvPr>
          <p:cNvSpPr>
            <a:spLocks noGrp="1"/>
          </p:cNvSpPr>
          <p:nvPr>
            <p:ph type="dt" sz="half" idx="10"/>
          </p:nvPr>
        </p:nvSpPr>
        <p:spPr>
          <a:xfrm>
            <a:off x="609600" y="5847675"/>
            <a:ext cx="2743200" cy="215444"/>
          </a:xfrm>
          <a:prstGeom prst="rect">
            <a:avLst/>
          </a:prstGeom>
        </p:spPr>
        <p:txBody>
          <a:bodyPr lIns="0" tIns="0" rIns="0" bIns="0">
            <a:spAutoFit/>
          </a:bodyPr>
          <a:lstStyle>
            <a:lvl1pPr>
              <a:defRPr sz="1400"/>
            </a:lvl1pPr>
          </a:lstStyle>
          <a:p>
            <a:fld id="{F073C639-E1E2-447E-808D-E7D084DF42C6}" type="datetime1">
              <a:rPr lang="en-GB" smtClean="0"/>
              <a:t>15/12/2023</a:t>
            </a:fld>
            <a:endParaRPr lang="en-GB" dirty="0"/>
          </a:p>
        </p:txBody>
      </p:sp>
      <p:sp>
        <p:nvSpPr>
          <p:cNvPr id="6" name="Slide Number Placeholder 5">
            <a:extLst>
              <a:ext uri="{FF2B5EF4-FFF2-40B4-BE49-F238E27FC236}">
                <a16:creationId xmlns:a16="http://schemas.microsoft.com/office/drawing/2014/main" id="{31EE4F48-9549-18B2-9910-CBE9BB9048C1}"/>
              </a:ext>
            </a:extLst>
          </p:cNvPr>
          <p:cNvSpPr>
            <a:spLocks noGrp="1"/>
          </p:cNvSpPr>
          <p:nvPr>
            <p:ph type="sldNum" sz="quarter" idx="12"/>
          </p:nvPr>
        </p:nvSpPr>
        <p:spPr/>
        <p:txBody>
          <a:bodyPr/>
          <a:lstStyle/>
          <a:p>
            <a:fld id="{81BB80E6-A275-47B1-83C7-F87E1B6AA4DD}" type="slidenum">
              <a:rPr lang="en-GB" smtClean="0"/>
              <a:t>‹#›</a:t>
            </a:fld>
            <a:endParaRPr lang="en-GB" dirty="0"/>
          </a:p>
        </p:txBody>
      </p:sp>
      <p:sp>
        <p:nvSpPr>
          <p:cNvPr id="22" name="Picture Placeholder 21">
            <a:extLst>
              <a:ext uri="{FF2B5EF4-FFF2-40B4-BE49-F238E27FC236}">
                <a16:creationId xmlns:a16="http://schemas.microsoft.com/office/drawing/2014/main" id="{B356EF70-2457-EB2A-B399-54CD52847096}"/>
              </a:ext>
            </a:extLst>
          </p:cNvPr>
          <p:cNvSpPr>
            <a:spLocks noGrp="1"/>
          </p:cNvSpPr>
          <p:nvPr>
            <p:ph type="pic" sz="quarter" idx="13"/>
          </p:nvPr>
        </p:nvSpPr>
        <p:spPr>
          <a:xfrm>
            <a:off x="5966234" y="0"/>
            <a:ext cx="6225766" cy="6867525"/>
          </a:xfrm>
          <a:custGeom>
            <a:avLst/>
            <a:gdLst>
              <a:gd name="connsiteX0" fmla="*/ 0 w 6225766"/>
              <a:gd name="connsiteY0" fmla="*/ 0 h 6867525"/>
              <a:gd name="connsiteX1" fmla="*/ 6225766 w 6225766"/>
              <a:gd name="connsiteY1" fmla="*/ 0 h 6867525"/>
              <a:gd name="connsiteX2" fmla="*/ 6225766 w 6225766"/>
              <a:gd name="connsiteY2" fmla="*/ 6858000 h 6867525"/>
              <a:gd name="connsiteX3" fmla="*/ 1695450 w 6225766"/>
              <a:gd name="connsiteY3" fmla="*/ 6867525 h 6867525"/>
            </a:gdLst>
            <a:ahLst/>
            <a:cxnLst>
              <a:cxn ang="0">
                <a:pos x="connsiteX0" y="connsiteY0"/>
              </a:cxn>
              <a:cxn ang="0">
                <a:pos x="connsiteX1" y="connsiteY1"/>
              </a:cxn>
              <a:cxn ang="0">
                <a:pos x="connsiteX2" y="connsiteY2"/>
              </a:cxn>
              <a:cxn ang="0">
                <a:pos x="connsiteX3" y="connsiteY3"/>
              </a:cxn>
            </a:cxnLst>
            <a:rect l="l" t="t" r="r" b="b"/>
            <a:pathLst>
              <a:path w="6225766" h="6867525">
                <a:moveTo>
                  <a:pt x="0" y="0"/>
                </a:moveTo>
                <a:lnTo>
                  <a:pt x="6225766" y="0"/>
                </a:lnTo>
                <a:lnTo>
                  <a:pt x="6225766" y="6858000"/>
                </a:lnTo>
                <a:lnTo>
                  <a:pt x="1695450" y="6867525"/>
                </a:lnTo>
                <a:close/>
              </a:path>
            </a:pathLst>
          </a:custGeom>
        </p:spPr>
        <p:txBody>
          <a:bodyPr wrap="square">
            <a:noAutofit/>
          </a:bodyPr>
          <a:lstStyle/>
          <a:p>
            <a:endParaRPr lang="en-GB" dirty="0"/>
          </a:p>
        </p:txBody>
      </p:sp>
      <p:pic>
        <p:nvPicPr>
          <p:cNvPr id="27" name="Picture 26" descr="Text&#10;&#10;Description automatically generated">
            <a:extLst>
              <a:ext uri="{FF2B5EF4-FFF2-40B4-BE49-F238E27FC236}">
                <a16:creationId xmlns:a16="http://schemas.microsoft.com/office/drawing/2014/main" id="{F64A3A84-A436-A193-E7C4-9E8A2742C6C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1025" y="451406"/>
            <a:ext cx="1920875" cy="653494"/>
          </a:xfrm>
          <a:prstGeom prst="rect">
            <a:avLst/>
          </a:prstGeom>
        </p:spPr>
      </p:pic>
    </p:spTree>
    <p:extLst>
      <p:ext uri="{BB962C8B-B14F-4D97-AF65-F5344CB8AC3E}">
        <p14:creationId xmlns:p14="http://schemas.microsoft.com/office/powerpoint/2010/main" val="117799599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54DC6D4-C661-1F7F-EC8A-2AEF55DE5293}"/>
              </a:ext>
            </a:extLst>
          </p:cNvPr>
          <p:cNvGraphicFramePr>
            <a:graphicFrameLocks noChangeAspect="1"/>
          </p:cNvGraphicFramePr>
          <p:nvPr userDrawn="1">
            <p:custDataLst>
              <p:tags r:id="rId1"/>
            </p:custDataLst>
            <p:extLst>
              <p:ext uri="{D42A27DB-BD31-4B8C-83A1-F6EECF244321}">
                <p14:modId xmlns:p14="http://schemas.microsoft.com/office/powerpoint/2010/main" val="1199969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9" name="Object 8" hidden="1">
                        <a:extLst>
                          <a:ext uri="{FF2B5EF4-FFF2-40B4-BE49-F238E27FC236}">
                            <a16:creationId xmlns:a16="http://schemas.microsoft.com/office/drawing/2014/main" id="{854DC6D4-C661-1F7F-EC8A-2AEF55DE52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2E04C1-9855-9F57-D805-95D527FB54DB}"/>
              </a:ext>
            </a:extLst>
          </p:cNvPr>
          <p:cNvSpPr>
            <a:spLocks noGrp="1"/>
          </p:cNvSpPr>
          <p:nvPr>
            <p:ph type="ctrTitle"/>
          </p:nvPr>
        </p:nvSpPr>
        <p:spPr>
          <a:xfrm>
            <a:off x="609600" y="2675712"/>
            <a:ext cx="4849640" cy="1354217"/>
          </a:xfrm>
        </p:spPr>
        <p:txBody>
          <a:bodyPr vert="horz" anchor="b"/>
          <a:lstStyle>
            <a:lvl1pPr algn="l">
              <a:defRPr sz="4400"/>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A4D05D72-F8E9-3FFC-1B6C-6C361ADF0F46}"/>
              </a:ext>
            </a:extLst>
          </p:cNvPr>
          <p:cNvSpPr>
            <a:spLocks noGrp="1"/>
          </p:cNvSpPr>
          <p:nvPr>
            <p:ph type="subTitle" idx="1"/>
          </p:nvPr>
        </p:nvSpPr>
        <p:spPr>
          <a:xfrm>
            <a:off x="609600" y="4290278"/>
            <a:ext cx="4849640" cy="307777"/>
          </a:xfrm>
        </p:spPr>
        <p:txBody>
          <a:bodyPr>
            <a:sp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4" name="Date Placeholder 3">
            <a:extLst>
              <a:ext uri="{FF2B5EF4-FFF2-40B4-BE49-F238E27FC236}">
                <a16:creationId xmlns:a16="http://schemas.microsoft.com/office/drawing/2014/main" id="{09509727-7AAF-CC2D-5129-89B32E263902}"/>
              </a:ext>
            </a:extLst>
          </p:cNvPr>
          <p:cNvSpPr>
            <a:spLocks noGrp="1"/>
          </p:cNvSpPr>
          <p:nvPr>
            <p:ph type="dt" sz="half" idx="10"/>
          </p:nvPr>
        </p:nvSpPr>
        <p:spPr>
          <a:xfrm>
            <a:off x="609600" y="5539898"/>
            <a:ext cx="2743200" cy="215444"/>
          </a:xfrm>
          <a:prstGeom prst="rect">
            <a:avLst/>
          </a:prstGeom>
        </p:spPr>
        <p:txBody>
          <a:bodyPr lIns="0" tIns="0" rIns="0" bIns="0">
            <a:spAutoFit/>
          </a:bodyPr>
          <a:lstStyle>
            <a:lvl1pPr>
              <a:defRPr sz="1400"/>
            </a:lvl1pPr>
          </a:lstStyle>
          <a:p>
            <a:fld id="{1AA92E4D-E1AB-4C57-B42F-043DE36F5C5E}" type="datetime1">
              <a:rPr lang="en-GB" smtClean="0"/>
              <a:t>15/12/2023</a:t>
            </a:fld>
            <a:endParaRPr lang="en-GB" dirty="0"/>
          </a:p>
        </p:txBody>
      </p:sp>
      <p:sp>
        <p:nvSpPr>
          <p:cNvPr id="6" name="Slide Number Placeholder 5">
            <a:extLst>
              <a:ext uri="{FF2B5EF4-FFF2-40B4-BE49-F238E27FC236}">
                <a16:creationId xmlns:a16="http://schemas.microsoft.com/office/drawing/2014/main" id="{31EE4F48-9549-18B2-9910-CBE9BB9048C1}"/>
              </a:ext>
            </a:extLst>
          </p:cNvPr>
          <p:cNvSpPr>
            <a:spLocks noGrp="1"/>
          </p:cNvSpPr>
          <p:nvPr>
            <p:ph type="sldNum" sz="quarter" idx="12"/>
          </p:nvPr>
        </p:nvSpPr>
        <p:spPr/>
        <p:txBody>
          <a:bodyPr/>
          <a:lstStyle/>
          <a:p>
            <a:fld id="{81BB80E6-A275-47B1-83C7-F87E1B6AA4DD}" type="slidenum">
              <a:rPr lang="en-GB" smtClean="0"/>
              <a:t>‹#›</a:t>
            </a:fld>
            <a:endParaRPr lang="en-GB" dirty="0"/>
          </a:p>
        </p:txBody>
      </p:sp>
      <p:pic>
        <p:nvPicPr>
          <p:cNvPr id="8" name="Picture 7" descr="A picture containing logo&#10;&#10;Description automatically generated">
            <a:extLst>
              <a:ext uri="{FF2B5EF4-FFF2-40B4-BE49-F238E27FC236}">
                <a16:creationId xmlns:a16="http://schemas.microsoft.com/office/drawing/2014/main" id="{1C539826-9236-94A9-39E0-B728DC77272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38175" y="345311"/>
            <a:ext cx="2055770" cy="842577"/>
          </a:xfrm>
          <a:prstGeom prst="rect">
            <a:avLst/>
          </a:prstGeom>
        </p:spPr>
      </p:pic>
      <p:sp>
        <p:nvSpPr>
          <p:cNvPr id="10" name="Right Triangle 9">
            <a:extLst>
              <a:ext uri="{FF2B5EF4-FFF2-40B4-BE49-F238E27FC236}">
                <a16:creationId xmlns:a16="http://schemas.microsoft.com/office/drawing/2014/main" id="{6E422963-57C1-6970-0719-EC704051D1DD}"/>
              </a:ext>
            </a:extLst>
          </p:cNvPr>
          <p:cNvSpPr/>
          <p:nvPr userDrawn="1"/>
        </p:nvSpPr>
        <p:spPr>
          <a:xfrm flipV="1">
            <a:off x="0" y="0"/>
            <a:ext cx="1104900" cy="1104900"/>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Picture Placeholder 11">
            <a:extLst>
              <a:ext uri="{FF2B5EF4-FFF2-40B4-BE49-F238E27FC236}">
                <a16:creationId xmlns:a16="http://schemas.microsoft.com/office/drawing/2014/main" id="{1997CBC7-F4B2-32F7-EF8D-0689E80391EA}"/>
              </a:ext>
            </a:extLst>
          </p:cNvPr>
          <p:cNvSpPr>
            <a:spLocks noGrp="1"/>
          </p:cNvSpPr>
          <p:nvPr>
            <p:ph type="pic" sz="quarter" idx="13"/>
          </p:nvPr>
        </p:nvSpPr>
        <p:spPr>
          <a:xfrm>
            <a:off x="6410325" y="0"/>
            <a:ext cx="5781675" cy="6858000"/>
          </a:xfrm>
        </p:spPr>
        <p:txBody>
          <a:bodyPr/>
          <a:lstStyle/>
          <a:p>
            <a:endParaRPr lang="en-GB" dirty="0"/>
          </a:p>
        </p:txBody>
      </p:sp>
    </p:spTree>
    <p:extLst>
      <p:ext uri="{BB962C8B-B14F-4D97-AF65-F5344CB8AC3E}">
        <p14:creationId xmlns:p14="http://schemas.microsoft.com/office/powerpoint/2010/main" val="274183518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54DC6D4-C661-1F7F-EC8A-2AEF55DE5293}"/>
              </a:ext>
            </a:extLst>
          </p:cNvPr>
          <p:cNvGraphicFramePr>
            <a:graphicFrameLocks noChangeAspect="1"/>
          </p:cNvGraphicFramePr>
          <p:nvPr userDrawn="1">
            <p:custDataLst>
              <p:tags r:id="rId1"/>
            </p:custDataLst>
            <p:extLst>
              <p:ext uri="{D42A27DB-BD31-4B8C-83A1-F6EECF244321}">
                <p14:modId xmlns:p14="http://schemas.microsoft.com/office/powerpoint/2010/main" val="404808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9" name="Object 8" hidden="1">
                        <a:extLst>
                          <a:ext uri="{FF2B5EF4-FFF2-40B4-BE49-F238E27FC236}">
                            <a16:creationId xmlns:a16="http://schemas.microsoft.com/office/drawing/2014/main" id="{854DC6D4-C661-1F7F-EC8A-2AEF55DE52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Picture 14" descr="A group of people walking on a sidewalk&#10;&#10;Description automatically generated with low confidence">
            <a:extLst>
              <a:ext uri="{FF2B5EF4-FFF2-40B4-BE49-F238E27FC236}">
                <a16:creationId xmlns:a16="http://schemas.microsoft.com/office/drawing/2014/main" id="{AD97992D-8092-49D3-87CF-C0629A00B6CB}"/>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15931" r="14667"/>
          <a:stretch/>
        </p:blipFill>
        <p:spPr>
          <a:xfrm>
            <a:off x="4216401" y="1"/>
            <a:ext cx="7975599" cy="6857999"/>
          </a:xfrm>
          <a:custGeom>
            <a:avLst/>
            <a:gdLst>
              <a:gd name="connsiteX0" fmla="*/ 0 w 7975599"/>
              <a:gd name="connsiteY0" fmla="*/ 0 h 6857999"/>
              <a:gd name="connsiteX1" fmla="*/ 7975599 w 7975599"/>
              <a:gd name="connsiteY1" fmla="*/ 0 h 6857999"/>
              <a:gd name="connsiteX2" fmla="*/ 7975599 w 7975599"/>
              <a:gd name="connsiteY2" fmla="*/ 6857999 h 6857999"/>
              <a:gd name="connsiteX3" fmla="*/ 0 w 7975599"/>
              <a:gd name="connsiteY3" fmla="*/ 6857999 h 6857999"/>
              <a:gd name="connsiteX4" fmla="*/ 1714500 w 7975599"/>
              <a:gd name="connsiteY4" fmla="*/ 3429000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5599" h="6857999">
                <a:moveTo>
                  <a:pt x="0" y="0"/>
                </a:moveTo>
                <a:lnTo>
                  <a:pt x="7975599" y="0"/>
                </a:lnTo>
                <a:lnTo>
                  <a:pt x="7975599" y="6857999"/>
                </a:lnTo>
                <a:lnTo>
                  <a:pt x="0" y="6857999"/>
                </a:lnTo>
                <a:lnTo>
                  <a:pt x="1714500" y="3429000"/>
                </a:lnTo>
                <a:close/>
              </a:path>
            </a:pathLst>
          </a:custGeom>
        </p:spPr>
      </p:pic>
      <p:sp>
        <p:nvSpPr>
          <p:cNvPr id="2" name="Title 1">
            <a:extLst>
              <a:ext uri="{FF2B5EF4-FFF2-40B4-BE49-F238E27FC236}">
                <a16:creationId xmlns:a16="http://schemas.microsoft.com/office/drawing/2014/main" id="{E82E04C1-9855-9F57-D805-95D527FB54DB}"/>
              </a:ext>
            </a:extLst>
          </p:cNvPr>
          <p:cNvSpPr>
            <a:spLocks noGrp="1"/>
          </p:cNvSpPr>
          <p:nvPr>
            <p:ph type="ctrTitle"/>
          </p:nvPr>
        </p:nvSpPr>
        <p:spPr>
          <a:xfrm>
            <a:off x="609600" y="2675712"/>
            <a:ext cx="4000500" cy="1354217"/>
          </a:xfrm>
        </p:spPr>
        <p:txBody>
          <a:bodyPr vert="horz" anchor="b"/>
          <a:lstStyle>
            <a:lvl1pPr algn="l">
              <a:defRPr sz="4400"/>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A4D05D72-F8E9-3FFC-1B6C-6C361ADF0F46}"/>
              </a:ext>
            </a:extLst>
          </p:cNvPr>
          <p:cNvSpPr>
            <a:spLocks noGrp="1"/>
          </p:cNvSpPr>
          <p:nvPr>
            <p:ph type="subTitle" idx="1"/>
          </p:nvPr>
        </p:nvSpPr>
        <p:spPr>
          <a:xfrm>
            <a:off x="609600" y="4290278"/>
            <a:ext cx="4000500" cy="307777"/>
          </a:xfrm>
        </p:spPr>
        <p:txBody>
          <a:bodyPr wrap="square">
            <a:sp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4" name="Date Placeholder 3">
            <a:extLst>
              <a:ext uri="{FF2B5EF4-FFF2-40B4-BE49-F238E27FC236}">
                <a16:creationId xmlns:a16="http://schemas.microsoft.com/office/drawing/2014/main" id="{09509727-7AAF-CC2D-5129-89B32E263902}"/>
              </a:ext>
            </a:extLst>
          </p:cNvPr>
          <p:cNvSpPr>
            <a:spLocks noGrp="1"/>
          </p:cNvSpPr>
          <p:nvPr>
            <p:ph type="dt" sz="half" idx="10"/>
          </p:nvPr>
        </p:nvSpPr>
        <p:spPr>
          <a:xfrm>
            <a:off x="609600" y="5539898"/>
            <a:ext cx="2262884" cy="215444"/>
          </a:xfrm>
          <a:prstGeom prst="rect">
            <a:avLst/>
          </a:prstGeom>
        </p:spPr>
        <p:txBody>
          <a:bodyPr wrap="square" lIns="0" tIns="0" rIns="0" bIns="0">
            <a:spAutoFit/>
          </a:bodyPr>
          <a:lstStyle>
            <a:lvl1pPr>
              <a:defRPr sz="1400"/>
            </a:lvl1pPr>
          </a:lstStyle>
          <a:p>
            <a:fld id="{1AA92E4D-E1AB-4C57-B42F-043DE36F5C5E}" type="datetime1">
              <a:rPr lang="en-GB" smtClean="0"/>
              <a:t>15/12/2023</a:t>
            </a:fld>
            <a:endParaRPr lang="en-GB" dirty="0"/>
          </a:p>
        </p:txBody>
      </p:sp>
      <p:sp>
        <p:nvSpPr>
          <p:cNvPr id="5" name="Arrow: Chevron 4">
            <a:extLst>
              <a:ext uri="{FF2B5EF4-FFF2-40B4-BE49-F238E27FC236}">
                <a16:creationId xmlns:a16="http://schemas.microsoft.com/office/drawing/2014/main" id="{98F52AFD-0DB7-99A9-ECEF-D4BC86482C2D}"/>
              </a:ext>
            </a:extLst>
          </p:cNvPr>
          <p:cNvSpPr/>
          <p:nvPr userDrawn="1"/>
        </p:nvSpPr>
        <p:spPr>
          <a:xfrm>
            <a:off x="3946541" y="1"/>
            <a:ext cx="2017485" cy="6857999"/>
          </a:xfrm>
          <a:prstGeom prst="chevron">
            <a:avLst>
              <a:gd name="adj" fmla="val 8520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7" name="Picture 6" descr="A picture containing logo&#10;&#10;Description automatically generated">
            <a:extLst>
              <a:ext uri="{FF2B5EF4-FFF2-40B4-BE49-F238E27FC236}">
                <a16:creationId xmlns:a16="http://schemas.microsoft.com/office/drawing/2014/main" id="{FA5D8967-16A8-54C5-B7D1-FE051DF71ED9}"/>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38175" y="345311"/>
            <a:ext cx="2055770" cy="842577"/>
          </a:xfrm>
          <a:prstGeom prst="rect">
            <a:avLst/>
          </a:prstGeom>
        </p:spPr>
      </p:pic>
    </p:spTree>
    <p:extLst>
      <p:ext uri="{BB962C8B-B14F-4D97-AF65-F5344CB8AC3E}">
        <p14:creationId xmlns:p14="http://schemas.microsoft.com/office/powerpoint/2010/main" val="336649234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o not remove" hidden="1">
            <a:extLst>
              <a:ext uri="{FF2B5EF4-FFF2-40B4-BE49-F238E27FC236}">
                <a16:creationId xmlns:a16="http://schemas.microsoft.com/office/drawing/2014/main" id="{EEFCF04F-757C-88D6-2319-E5844AB38F33}"/>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11" name="Object 10" hidden="1">
            <a:extLst>
              <a:ext uri="{FF2B5EF4-FFF2-40B4-BE49-F238E27FC236}">
                <a16:creationId xmlns:a16="http://schemas.microsoft.com/office/drawing/2014/main" id="{2CC470B1-565B-6EB1-D3C7-97334E8759DE}"/>
              </a:ext>
            </a:extLst>
          </p:cNvPr>
          <p:cNvGraphicFramePr>
            <a:graphicFrameLocks noChangeAspect="1"/>
          </p:cNvGraphicFramePr>
          <p:nvPr userDrawn="1">
            <p:custDataLst>
              <p:tags r:id="rId2"/>
            </p:custDataLst>
            <p:extLst>
              <p:ext uri="{D42A27DB-BD31-4B8C-83A1-F6EECF244321}">
                <p14:modId xmlns:p14="http://schemas.microsoft.com/office/powerpoint/2010/main" val="3279096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2CC470B1-565B-6EB1-D3C7-97334E8759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3DAD939-C8D5-0EF5-C2A7-B8961DABC42C}"/>
              </a:ext>
            </a:extLst>
          </p:cNvPr>
          <p:cNvSpPr>
            <a:spLocks noGrp="1"/>
          </p:cNvSpPr>
          <p:nvPr>
            <p:ph type="title"/>
          </p:nvPr>
        </p:nvSpPr>
        <p:spPr>
          <a:xfrm>
            <a:off x="642796" y="317381"/>
            <a:ext cx="11121856" cy="492443"/>
          </a:xfrm>
        </p:spPr>
        <p:txBody>
          <a:bodyPr vert="horz"/>
          <a:lstStyle>
            <a:lvl1pPr>
              <a:defRPr sz="3200">
                <a:solidFill>
                  <a:schemeClr val="accent1"/>
                </a:solidFill>
              </a:defRPr>
            </a:lvl1p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E41B35CD-C5DC-2D6F-73A9-06CC04E50075}"/>
              </a:ext>
            </a:extLst>
          </p:cNvPr>
          <p:cNvSpPr>
            <a:spLocks noGrp="1"/>
          </p:cNvSpPr>
          <p:nvPr>
            <p:ph idx="1"/>
          </p:nvPr>
        </p:nvSpPr>
        <p:spPr>
          <a:xfrm>
            <a:off x="642796" y="1276538"/>
            <a:ext cx="11121856" cy="4943193"/>
          </a:xfrm>
          <a:noFill/>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a:extLst>
              <a:ext uri="{FF2B5EF4-FFF2-40B4-BE49-F238E27FC236}">
                <a16:creationId xmlns:a16="http://schemas.microsoft.com/office/drawing/2014/main" id="{943EC9BE-2F50-8AE6-F8C8-88C4722DE133}"/>
              </a:ext>
            </a:extLst>
          </p:cNvPr>
          <p:cNvSpPr>
            <a:spLocks noGrp="1"/>
          </p:cNvSpPr>
          <p:nvPr>
            <p:ph type="ftr" sz="quarter" idx="11"/>
          </p:nvPr>
        </p:nvSpPr>
        <p:spPr>
          <a:xfrm>
            <a:off x="1658619" y="6497675"/>
            <a:ext cx="7726052" cy="123111"/>
          </a:xfrm>
        </p:spPr>
        <p:txBody>
          <a:bodyPr/>
          <a:lstStyle/>
          <a:p>
            <a:endParaRPr lang="en-GB" dirty="0"/>
          </a:p>
        </p:txBody>
      </p:sp>
      <p:sp>
        <p:nvSpPr>
          <p:cNvPr id="6" name="Slide Number Placeholder 5">
            <a:extLst>
              <a:ext uri="{FF2B5EF4-FFF2-40B4-BE49-F238E27FC236}">
                <a16:creationId xmlns:a16="http://schemas.microsoft.com/office/drawing/2014/main" id="{14EFEA88-F26C-2E66-BC46-01636D7CA12E}"/>
              </a:ext>
            </a:extLst>
          </p:cNvPr>
          <p:cNvSpPr>
            <a:spLocks noGrp="1"/>
          </p:cNvSpPr>
          <p:nvPr>
            <p:ph type="sldNum" sz="quarter" idx="12"/>
          </p:nvPr>
        </p:nvSpPr>
        <p:spPr>
          <a:xfrm>
            <a:off x="11644427" y="6497675"/>
            <a:ext cx="120225" cy="123111"/>
          </a:xfrm>
        </p:spPr>
        <p:txBody>
          <a:bodyPr/>
          <a:lstStyle/>
          <a:p>
            <a:fld id="{81BB80E6-A275-47B1-83C7-F87E1B6AA4DD}" type="slidenum">
              <a:rPr lang="en-GB" smtClean="0"/>
              <a:t>‹#›</a:t>
            </a:fld>
            <a:endParaRPr lang="en-GB" dirty="0"/>
          </a:p>
        </p:txBody>
      </p:sp>
      <p:sp>
        <p:nvSpPr>
          <p:cNvPr id="9" name="Freeform: Shape 8">
            <a:extLst>
              <a:ext uri="{FF2B5EF4-FFF2-40B4-BE49-F238E27FC236}">
                <a16:creationId xmlns:a16="http://schemas.microsoft.com/office/drawing/2014/main" id="{E40FE461-422C-2E3C-0235-D458F0AE94D4}"/>
              </a:ext>
            </a:extLst>
          </p:cNvPr>
          <p:cNvSpPr/>
          <p:nvPr userDrawn="1"/>
        </p:nvSpPr>
        <p:spPr>
          <a:xfrm>
            <a:off x="0" y="351581"/>
            <a:ext cx="642796" cy="424042"/>
          </a:xfrm>
          <a:custGeom>
            <a:avLst/>
            <a:gdLst>
              <a:gd name="connsiteX0" fmla="*/ 0 w 542925"/>
              <a:gd name="connsiteY0" fmla="*/ 0 h 365125"/>
              <a:gd name="connsiteX1" fmla="*/ 542925 w 542925"/>
              <a:gd name="connsiteY1" fmla="*/ 0 h 365125"/>
              <a:gd name="connsiteX2" fmla="*/ 279698 w 542925"/>
              <a:gd name="connsiteY2" fmla="*/ 365125 h 365125"/>
              <a:gd name="connsiteX3" fmla="*/ 0 w 542925"/>
              <a:gd name="connsiteY3" fmla="*/ 365125 h 365125"/>
            </a:gdLst>
            <a:ahLst/>
            <a:cxnLst>
              <a:cxn ang="0">
                <a:pos x="connsiteX0" y="connsiteY0"/>
              </a:cxn>
              <a:cxn ang="0">
                <a:pos x="connsiteX1" y="connsiteY1"/>
              </a:cxn>
              <a:cxn ang="0">
                <a:pos x="connsiteX2" y="connsiteY2"/>
              </a:cxn>
              <a:cxn ang="0">
                <a:pos x="connsiteX3" y="connsiteY3"/>
              </a:cxn>
            </a:cxnLst>
            <a:rect l="l" t="t" r="r" b="b"/>
            <a:pathLst>
              <a:path w="542925" h="365125">
                <a:moveTo>
                  <a:pt x="0" y="0"/>
                </a:moveTo>
                <a:lnTo>
                  <a:pt x="542925" y="0"/>
                </a:lnTo>
                <a:lnTo>
                  <a:pt x="279698" y="365125"/>
                </a:lnTo>
                <a:lnTo>
                  <a:pt x="0" y="3651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pic>
        <p:nvPicPr>
          <p:cNvPr id="26" name="Picture 25" descr="A picture containing logo&#10;&#10;Description automatically generated">
            <a:extLst>
              <a:ext uri="{FF2B5EF4-FFF2-40B4-BE49-F238E27FC236}">
                <a16:creationId xmlns:a16="http://schemas.microsoft.com/office/drawing/2014/main" id="{F81BECA9-2171-AFB4-0FB7-DFA03D28370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42925" y="6356350"/>
            <a:ext cx="990001" cy="405761"/>
          </a:xfrm>
          <a:prstGeom prst="rect">
            <a:avLst/>
          </a:prstGeom>
        </p:spPr>
      </p:pic>
    </p:spTree>
    <p:extLst>
      <p:ext uri="{BB962C8B-B14F-4D97-AF65-F5344CB8AC3E}">
        <p14:creationId xmlns:p14="http://schemas.microsoft.com/office/powerpoint/2010/main" val="21876825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2" name="Do not remove" hidden="1">
            <a:extLst>
              <a:ext uri="{FF2B5EF4-FFF2-40B4-BE49-F238E27FC236}">
                <a16:creationId xmlns:a16="http://schemas.microsoft.com/office/drawing/2014/main" id="{2403C004-34A6-8813-9E18-E8DEFF139265}"/>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11" name="Object 10" hidden="1">
            <a:extLst>
              <a:ext uri="{FF2B5EF4-FFF2-40B4-BE49-F238E27FC236}">
                <a16:creationId xmlns:a16="http://schemas.microsoft.com/office/drawing/2014/main" id="{2CC470B1-565B-6EB1-D3C7-97334E8759DE}"/>
              </a:ext>
            </a:extLst>
          </p:cNvPr>
          <p:cNvGraphicFramePr>
            <a:graphicFrameLocks noChangeAspect="1"/>
          </p:cNvGraphicFramePr>
          <p:nvPr userDrawn="1">
            <p:custDataLst>
              <p:tags r:id="rId2"/>
            </p:custDataLst>
            <p:extLst>
              <p:ext uri="{D42A27DB-BD31-4B8C-83A1-F6EECF244321}">
                <p14:modId xmlns:p14="http://schemas.microsoft.com/office/powerpoint/2010/main" val="124864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2CC470B1-565B-6EB1-D3C7-97334E8759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6D5BC851-0427-8E25-F2EC-4FF787530DBD}"/>
              </a:ext>
            </a:extLst>
          </p:cNvPr>
          <p:cNvSpPr/>
          <p:nvPr userDrawn="1"/>
        </p:nvSpPr>
        <p:spPr>
          <a:xfrm>
            <a:off x="8266339" y="1603609"/>
            <a:ext cx="478971" cy="3012606"/>
          </a:xfrm>
          <a:prstGeom prst="rect">
            <a:avLst/>
          </a:pr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93DAD939-C8D5-0EF5-C2A7-B8961DABC42C}"/>
              </a:ext>
            </a:extLst>
          </p:cNvPr>
          <p:cNvSpPr>
            <a:spLocks noGrp="1"/>
          </p:cNvSpPr>
          <p:nvPr>
            <p:ph type="title"/>
          </p:nvPr>
        </p:nvSpPr>
        <p:spPr>
          <a:xfrm>
            <a:off x="642796" y="317381"/>
            <a:ext cx="7006233" cy="492443"/>
          </a:xfrm>
        </p:spPr>
        <p:txBody>
          <a:bodyPr vert="horz"/>
          <a:lstStyle>
            <a:lvl1pPr>
              <a:defRPr sz="3200">
                <a:solidFill>
                  <a:schemeClr val="accent1"/>
                </a:solidFill>
              </a:defRPr>
            </a:lvl1p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E41B35CD-C5DC-2D6F-73A9-06CC04E50075}"/>
              </a:ext>
            </a:extLst>
          </p:cNvPr>
          <p:cNvSpPr>
            <a:spLocks noGrp="1"/>
          </p:cNvSpPr>
          <p:nvPr>
            <p:ph idx="1"/>
          </p:nvPr>
        </p:nvSpPr>
        <p:spPr>
          <a:xfrm>
            <a:off x="642796" y="1276538"/>
            <a:ext cx="7006233" cy="4943193"/>
          </a:xfrm>
          <a:noFill/>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a:extLst>
              <a:ext uri="{FF2B5EF4-FFF2-40B4-BE49-F238E27FC236}">
                <a16:creationId xmlns:a16="http://schemas.microsoft.com/office/drawing/2014/main" id="{943EC9BE-2F50-8AE6-F8C8-88C4722DE133}"/>
              </a:ext>
            </a:extLst>
          </p:cNvPr>
          <p:cNvSpPr>
            <a:spLocks noGrp="1"/>
          </p:cNvSpPr>
          <p:nvPr>
            <p:ph type="ftr" sz="quarter" idx="11"/>
          </p:nvPr>
        </p:nvSpPr>
        <p:spPr>
          <a:xfrm>
            <a:off x="1658619" y="6497675"/>
            <a:ext cx="7726052" cy="123111"/>
          </a:xfrm>
        </p:spPr>
        <p:txBody>
          <a:bodyPr/>
          <a:lstStyle/>
          <a:p>
            <a:endParaRPr lang="en-GB" dirty="0"/>
          </a:p>
        </p:txBody>
      </p:sp>
      <p:sp>
        <p:nvSpPr>
          <p:cNvPr id="6" name="Slide Number Placeholder 5">
            <a:extLst>
              <a:ext uri="{FF2B5EF4-FFF2-40B4-BE49-F238E27FC236}">
                <a16:creationId xmlns:a16="http://schemas.microsoft.com/office/drawing/2014/main" id="{14EFEA88-F26C-2E66-BC46-01636D7CA12E}"/>
              </a:ext>
            </a:extLst>
          </p:cNvPr>
          <p:cNvSpPr>
            <a:spLocks noGrp="1"/>
          </p:cNvSpPr>
          <p:nvPr>
            <p:ph type="sldNum" sz="quarter" idx="12"/>
          </p:nvPr>
        </p:nvSpPr>
        <p:spPr>
          <a:xfrm>
            <a:off x="11644427" y="6497675"/>
            <a:ext cx="120225" cy="123111"/>
          </a:xfrm>
        </p:spPr>
        <p:txBody>
          <a:bodyPr/>
          <a:lstStyle/>
          <a:p>
            <a:fld id="{81BB80E6-A275-47B1-83C7-F87E1B6AA4DD}" type="slidenum">
              <a:rPr lang="en-GB" smtClean="0"/>
              <a:t>‹#›</a:t>
            </a:fld>
            <a:endParaRPr lang="en-GB" dirty="0"/>
          </a:p>
        </p:txBody>
      </p:sp>
      <p:pic>
        <p:nvPicPr>
          <p:cNvPr id="26" name="Picture 25" descr="A picture containing logo&#10;&#10;Description automatically generated">
            <a:extLst>
              <a:ext uri="{FF2B5EF4-FFF2-40B4-BE49-F238E27FC236}">
                <a16:creationId xmlns:a16="http://schemas.microsoft.com/office/drawing/2014/main" id="{F81BECA9-2171-AFB4-0FB7-DFA03D28370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42925" y="6356350"/>
            <a:ext cx="990001" cy="405761"/>
          </a:xfrm>
          <a:prstGeom prst="rect">
            <a:avLst/>
          </a:prstGeom>
        </p:spPr>
      </p:pic>
      <p:sp>
        <p:nvSpPr>
          <p:cNvPr id="8" name="Picture Placeholder 7">
            <a:extLst>
              <a:ext uri="{FF2B5EF4-FFF2-40B4-BE49-F238E27FC236}">
                <a16:creationId xmlns:a16="http://schemas.microsoft.com/office/drawing/2014/main" id="{63F74818-8E00-1073-4CB9-FB786965E9C6}"/>
              </a:ext>
            </a:extLst>
          </p:cNvPr>
          <p:cNvSpPr>
            <a:spLocks noGrp="1"/>
          </p:cNvSpPr>
          <p:nvPr>
            <p:ph type="pic" sz="quarter" idx="13"/>
          </p:nvPr>
        </p:nvSpPr>
        <p:spPr>
          <a:xfrm>
            <a:off x="8505825" y="0"/>
            <a:ext cx="3686175" cy="6219825"/>
          </a:xfrm>
        </p:spPr>
        <p:txBody>
          <a:bodyPr/>
          <a:lstStyle/>
          <a:p>
            <a:endParaRPr lang="en-GB" dirty="0"/>
          </a:p>
        </p:txBody>
      </p:sp>
      <p:sp>
        <p:nvSpPr>
          <p:cNvPr id="7" name="Freeform: Shape 6">
            <a:extLst>
              <a:ext uri="{FF2B5EF4-FFF2-40B4-BE49-F238E27FC236}">
                <a16:creationId xmlns:a16="http://schemas.microsoft.com/office/drawing/2014/main" id="{68F91634-BC32-CE39-2C31-A3488653E550}"/>
              </a:ext>
            </a:extLst>
          </p:cNvPr>
          <p:cNvSpPr/>
          <p:nvPr userDrawn="1"/>
        </p:nvSpPr>
        <p:spPr>
          <a:xfrm>
            <a:off x="0" y="351581"/>
            <a:ext cx="642796" cy="424042"/>
          </a:xfrm>
          <a:custGeom>
            <a:avLst/>
            <a:gdLst>
              <a:gd name="connsiteX0" fmla="*/ 0 w 542925"/>
              <a:gd name="connsiteY0" fmla="*/ 0 h 365125"/>
              <a:gd name="connsiteX1" fmla="*/ 542925 w 542925"/>
              <a:gd name="connsiteY1" fmla="*/ 0 h 365125"/>
              <a:gd name="connsiteX2" fmla="*/ 279698 w 542925"/>
              <a:gd name="connsiteY2" fmla="*/ 365125 h 365125"/>
              <a:gd name="connsiteX3" fmla="*/ 0 w 542925"/>
              <a:gd name="connsiteY3" fmla="*/ 365125 h 365125"/>
            </a:gdLst>
            <a:ahLst/>
            <a:cxnLst>
              <a:cxn ang="0">
                <a:pos x="connsiteX0" y="connsiteY0"/>
              </a:cxn>
              <a:cxn ang="0">
                <a:pos x="connsiteX1" y="connsiteY1"/>
              </a:cxn>
              <a:cxn ang="0">
                <a:pos x="connsiteX2" y="connsiteY2"/>
              </a:cxn>
              <a:cxn ang="0">
                <a:pos x="connsiteX3" y="connsiteY3"/>
              </a:cxn>
            </a:cxnLst>
            <a:rect l="l" t="t" r="r" b="b"/>
            <a:pathLst>
              <a:path w="542925" h="365125">
                <a:moveTo>
                  <a:pt x="0" y="0"/>
                </a:moveTo>
                <a:lnTo>
                  <a:pt x="542925" y="0"/>
                </a:lnTo>
                <a:lnTo>
                  <a:pt x="279698" y="365125"/>
                </a:lnTo>
                <a:lnTo>
                  <a:pt x="0" y="3651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extLst>
      <p:ext uri="{BB962C8B-B14F-4D97-AF65-F5344CB8AC3E}">
        <p14:creationId xmlns:p14="http://schemas.microsoft.com/office/powerpoint/2010/main" val="25859994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CD26456-950B-7DC0-BCFD-B8FA87C73298}"/>
              </a:ext>
            </a:extLst>
          </p:cNvPr>
          <p:cNvGraphicFramePr>
            <a:graphicFrameLocks noChangeAspect="1"/>
          </p:cNvGraphicFramePr>
          <p:nvPr userDrawn="1">
            <p:custDataLst>
              <p:tags r:id="rId1"/>
            </p:custDataLst>
            <p:extLst>
              <p:ext uri="{D42A27DB-BD31-4B8C-83A1-F6EECF244321}">
                <p14:modId xmlns:p14="http://schemas.microsoft.com/office/powerpoint/2010/main" val="3654262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8" name="Object 7" hidden="1">
                        <a:extLst>
                          <a:ext uri="{FF2B5EF4-FFF2-40B4-BE49-F238E27FC236}">
                            <a16:creationId xmlns:a16="http://schemas.microsoft.com/office/drawing/2014/main" id="{7CD26456-950B-7DC0-BCFD-B8FA87C732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DED95C-3A09-B6AB-644A-C3F8DB56A4D0}"/>
              </a:ext>
            </a:extLst>
          </p:cNvPr>
          <p:cNvSpPr>
            <a:spLocks noGrp="1"/>
          </p:cNvSpPr>
          <p:nvPr>
            <p:ph type="title" hasCustomPrompt="1"/>
          </p:nvPr>
        </p:nvSpPr>
        <p:spPr>
          <a:xfrm>
            <a:off x="609600" y="461963"/>
            <a:ext cx="5181600" cy="553998"/>
          </a:xfrm>
        </p:spPr>
        <p:txBody>
          <a:bodyPr vert="horz"/>
          <a:lstStyle>
            <a:lvl1pPr>
              <a:defRPr/>
            </a:lvl1pPr>
          </a:lstStyle>
          <a:p>
            <a:r>
              <a:rPr lang="en-US" dirty="0"/>
              <a:t>AGENDA</a:t>
            </a:r>
            <a:endParaRPr lang="en-GB" dirty="0"/>
          </a:p>
        </p:txBody>
      </p:sp>
      <p:sp>
        <p:nvSpPr>
          <p:cNvPr id="3" name="Content Placeholder 2">
            <a:extLst>
              <a:ext uri="{FF2B5EF4-FFF2-40B4-BE49-F238E27FC236}">
                <a16:creationId xmlns:a16="http://schemas.microsoft.com/office/drawing/2014/main" id="{36005368-ADFE-F05D-AA61-C1672287B20E}"/>
              </a:ext>
            </a:extLst>
          </p:cNvPr>
          <p:cNvSpPr>
            <a:spLocks noGrp="1"/>
          </p:cNvSpPr>
          <p:nvPr>
            <p:ph sz="half" idx="1"/>
          </p:nvPr>
        </p:nvSpPr>
        <p:spPr>
          <a:xfrm>
            <a:off x="609600" y="1439501"/>
            <a:ext cx="5181600" cy="473746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a:extLst>
              <a:ext uri="{FF2B5EF4-FFF2-40B4-BE49-F238E27FC236}">
                <a16:creationId xmlns:a16="http://schemas.microsoft.com/office/drawing/2014/main" id="{9F0ADAEF-C4EB-8CCB-069E-2F96794D31E9}"/>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658726CD-0C4C-BB81-9442-2BD4DF52D059}"/>
              </a:ext>
            </a:extLst>
          </p:cNvPr>
          <p:cNvSpPr>
            <a:spLocks noGrp="1"/>
          </p:cNvSpPr>
          <p:nvPr>
            <p:ph type="sldNum" sz="quarter" idx="12"/>
          </p:nvPr>
        </p:nvSpPr>
        <p:spPr/>
        <p:txBody>
          <a:bodyPr/>
          <a:lstStyle/>
          <a:p>
            <a:fld id="{81BB80E6-A275-47B1-83C7-F87E1B6AA4DD}" type="slidenum">
              <a:rPr lang="en-GB" smtClean="0"/>
              <a:t>‹#›</a:t>
            </a:fld>
            <a:endParaRPr lang="en-GB" dirty="0"/>
          </a:p>
        </p:txBody>
      </p:sp>
      <p:sp>
        <p:nvSpPr>
          <p:cNvPr id="9" name="Right Triangle 8">
            <a:extLst>
              <a:ext uri="{FF2B5EF4-FFF2-40B4-BE49-F238E27FC236}">
                <a16:creationId xmlns:a16="http://schemas.microsoft.com/office/drawing/2014/main" id="{8F9D07FD-FB07-8B03-98F1-22FD58113089}"/>
              </a:ext>
            </a:extLst>
          </p:cNvPr>
          <p:cNvSpPr/>
          <p:nvPr userDrawn="1"/>
        </p:nvSpPr>
        <p:spPr>
          <a:xfrm flipH="1" flipV="1">
            <a:off x="9035358" y="0"/>
            <a:ext cx="3156642" cy="3156642"/>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Picture Placeholder 10">
            <a:extLst>
              <a:ext uri="{FF2B5EF4-FFF2-40B4-BE49-F238E27FC236}">
                <a16:creationId xmlns:a16="http://schemas.microsoft.com/office/drawing/2014/main" id="{96512CF9-3ADC-AE0B-63BF-9AC2612333EF}"/>
              </a:ext>
            </a:extLst>
          </p:cNvPr>
          <p:cNvSpPr>
            <a:spLocks noGrp="1"/>
          </p:cNvSpPr>
          <p:nvPr>
            <p:ph type="pic" sz="quarter" idx="13"/>
          </p:nvPr>
        </p:nvSpPr>
        <p:spPr>
          <a:xfrm>
            <a:off x="6346825" y="461963"/>
            <a:ext cx="5418138" cy="5715000"/>
          </a:xfrm>
        </p:spPr>
        <p:txBody>
          <a:bodyPr/>
          <a:lstStyle/>
          <a:p>
            <a:endParaRPr lang="en-GB" dirty="0"/>
          </a:p>
        </p:txBody>
      </p:sp>
    </p:spTree>
    <p:extLst>
      <p:ext uri="{BB962C8B-B14F-4D97-AF65-F5344CB8AC3E}">
        <p14:creationId xmlns:p14="http://schemas.microsoft.com/office/powerpoint/2010/main" val="26616807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 name="Do not remove" hidden="1">
            <a:extLst>
              <a:ext uri="{FF2B5EF4-FFF2-40B4-BE49-F238E27FC236}">
                <a16:creationId xmlns:a16="http://schemas.microsoft.com/office/drawing/2014/main" id="{E54F2FA1-259E-BC24-5418-E1D4112AF982}"/>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12" name="Object 11" hidden="1">
            <a:extLst>
              <a:ext uri="{FF2B5EF4-FFF2-40B4-BE49-F238E27FC236}">
                <a16:creationId xmlns:a16="http://schemas.microsoft.com/office/drawing/2014/main" id="{8EAF95CC-4EDE-4044-6267-10738B8B764D}"/>
              </a:ext>
            </a:extLst>
          </p:cNvPr>
          <p:cNvGraphicFramePr>
            <a:graphicFrameLocks noChangeAspect="1"/>
          </p:cNvGraphicFramePr>
          <p:nvPr userDrawn="1">
            <p:custDataLst>
              <p:tags r:id="rId2"/>
            </p:custDataLst>
            <p:extLst>
              <p:ext uri="{D42A27DB-BD31-4B8C-83A1-F6EECF244321}">
                <p14:modId xmlns:p14="http://schemas.microsoft.com/office/powerpoint/2010/main" val="371184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2" name="Object 11" hidden="1">
                        <a:extLst>
                          <a:ext uri="{FF2B5EF4-FFF2-40B4-BE49-F238E27FC236}">
                            <a16:creationId xmlns:a16="http://schemas.microsoft.com/office/drawing/2014/main" id="{8EAF95CC-4EDE-4044-6267-10738B8B76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Parallelogram 15">
            <a:extLst>
              <a:ext uri="{FF2B5EF4-FFF2-40B4-BE49-F238E27FC236}">
                <a16:creationId xmlns:a16="http://schemas.microsoft.com/office/drawing/2014/main" id="{7A649D73-861F-B7F2-CA33-B91C587A40A9}"/>
              </a:ext>
            </a:extLst>
          </p:cNvPr>
          <p:cNvSpPr/>
          <p:nvPr userDrawn="1"/>
        </p:nvSpPr>
        <p:spPr>
          <a:xfrm>
            <a:off x="6343650" y="5181600"/>
            <a:ext cx="1895475" cy="476250"/>
          </a:xfrm>
          <a:prstGeom prst="parallelogram">
            <a:avLst>
              <a:gd name="adj" fmla="val 134589"/>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24" name="Picture Placeholder 23">
            <a:extLst>
              <a:ext uri="{FF2B5EF4-FFF2-40B4-BE49-F238E27FC236}">
                <a16:creationId xmlns:a16="http://schemas.microsoft.com/office/drawing/2014/main" id="{96A5DA2C-DA07-456D-FB58-0EB86A5A4DBC}"/>
              </a:ext>
            </a:extLst>
          </p:cNvPr>
          <p:cNvSpPr>
            <a:spLocks noGrp="1"/>
          </p:cNvSpPr>
          <p:nvPr>
            <p:ph type="pic" sz="quarter" idx="13"/>
          </p:nvPr>
        </p:nvSpPr>
        <p:spPr>
          <a:xfrm>
            <a:off x="5241532" y="0"/>
            <a:ext cx="6950468" cy="5657850"/>
          </a:xfrm>
          <a:custGeom>
            <a:avLst/>
            <a:gdLst>
              <a:gd name="connsiteX0" fmla="*/ 1281187 w 6950468"/>
              <a:gd name="connsiteY0" fmla="*/ 0 h 5657850"/>
              <a:gd name="connsiteX1" fmla="*/ 6950468 w 6950468"/>
              <a:gd name="connsiteY1" fmla="*/ 0 h 5657850"/>
              <a:gd name="connsiteX2" fmla="*/ 6950468 w 6950468"/>
              <a:gd name="connsiteY2" fmla="*/ 5657850 h 5657850"/>
              <a:gd name="connsiteX3" fmla="*/ 1869993 w 6950468"/>
              <a:gd name="connsiteY3" fmla="*/ 5657850 h 5657850"/>
              <a:gd name="connsiteX4" fmla="*/ 0 w 6950468"/>
              <a:gd name="connsiteY4" fmla="*/ 803 h 5657850"/>
              <a:gd name="connsiteX5" fmla="*/ 640459 w 6950468"/>
              <a:gd name="connsiteY5" fmla="*/ 1924050 h 565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50468" h="5657850">
                <a:moveTo>
                  <a:pt x="1281187" y="0"/>
                </a:moveTo>
                <a:lnTo>
                  <a:pt x="6950468" y="0"/>
                </a:lnTo>
                <a:lnTo>
                  <a:pt x="6950468" y="5657850"/>
                </a:lnTo>
                <a:lnTo>
                  <a:pt x="1869993" y="5657850"/>
                </a:lnTo>
                <a:lnTo>
                  <a:pt x="0" y="803"/>
                </a:lnTo>
                <a:lnTo>
                  <a:pt x="640459" y="1924050"/>
                </a:lnTo>
                <a:close/>
              </a:path>
            </a:pathLst>
          </a:custGeom>
        </p:spPr>
        <p:txBody>
          <a:bodyPr wrap="square" anchor="ctr">
            <a:noAutofit/>
          </a:bodyPr>
          <a:lstStyle/>
          <a:p>
            <a:endParaRPr lang="en-GB" dirty="0"/>
          </a:p>
        </p:txBody>
      </p:sp>
      <p:sp>
        <p:nvSpPr>
          <p:cNvPr id="2" name="Title 1">
            <a:extLst>
              <a:ext uri="{FF2B5EF4-FFF2-40B4-BE49-F238E27FC236}">
                <a16:creationId xmlns:a16="http://schemas.microsoft.com/office/drawing/2014/main" id="{856BEEEA-2674-C3D6-98D3-FBD240C4799A}"/>
              </a:ext>
            </a:extLst>
          </p:cNvPr>
          <p:cNvSpPr>
            <a:spLocks noGrp="1"/>
          </p:cNvSpPr>
          <p:nvPr>
            <p:ph type="title" hasCustomPrompt="1"/>
          </p:nvPr>
        </p:nvSpPr>
        <p:spPr>
          <a:xfrm>
            <a:off x="658483" y="3424535"/>
            <a:ext cx="4830432" cy="923330"/>
          </a:xfrm>
        </p:spPr>
        <p:txBody>
          <a:bodyPr vert="horz" anchor="t"/>
          <a:lstStyle>
            <a:lvl1pPr>
              <a:defRPr sz="6000">
                <a:solidFill>
                  <a:schemeClr val="accent3"/>
                </a:solidFill>
              </a:defRPr>
            </a:lvl1pPr>
          </a:lstStyle>
          <a:p>
            <a:r>
              <a:rPr lang="en-US" dirty="0"/>
              <a:t>Divider Slide</a:t>
            </a:r>
            <a:endParaRPr lang="en-GB" dirty="0"/>
          </a:p>
        </p:txBody>
      </p:sp>
      <p:sp>
        <p:nvSpPr>
          <p:cNvPr id="3" name="Text Placeholder 2">
            <a:extLst>
              <a:ext uri="{FF2B5EF4-FFF2-40B4-BE49-F238E27FC236}">
                <a16:creationId xmlns:a16="http://schemas.microsoft.com/office/drawing/2014/main" id="{224FE5E3-4455-DCC1-3E75-CCD1A4954491}"/>
              </a:ext>
            </a:extLst>
          </p:cNvPr>
          <p:cNvSpPr>
            <a:spLocks noGrp="1"/>
          </p:cNvSpPr>
          <p:nvPr>
            <p:ph type="body" idx="1" hasCustomPrompt="1"/>
          </p:nvPr>
        </p:nvSpPr>
        <p:spPr>
          <a:xfrm>
            <a:off x="658483" y="2101044"/>
            <a:ext cx="1170192" cy="1231106"/>
          </a:xfrm>
        </p:spPr>
        <p:txBody>
          <a:bodyPr wrap="none">
            <a:spAutoFit/>
          </a:bodyPr>
          <a:lstStyle>
            <a:lvl1pPr marL="0" indent="0">
              <a:buNone/>
              <a:defRPr sz="8000" b="1">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01</a:t>
            </a:r>
          </a:p>
        </p:txBody>
      </p:sp>
      <p:sp>
        <p:nvSpPr>
          <p:cNvPr id="6" name="Slide Number Placeholder 5">
            <a:extLst>
              <a:ext uri="{FF2B5EF4-FFF2-40B4-BE49-F238E27FC236}">
                <a16:creationId xmlns:a16="http://schemas.microsoft.com/office/drawing/2014/main" id="{2529795C-DC78-EE24-2042-5D67293B429E}"/>
              </a:ext>
            </a:extLst>
          </p:cNvPr>
          <p:cNvSpPr>
            <a:spLocks noGrp="1"/>
          </p:cNvSpPr>
          <p:nvPr>
            <p:ph type="sldNum" sz="quarter" idx="12"/>
          </p:nvPr>
        </p:nvSpPr>
        <p:spPr/>
        <p:txBody>
          <a:bodyPr/>
          <a:lstStyle/>
          <a:p>
            <a:fld id="{81BB80E6-A275-47B1-83C7-F87E1B6AA4DD}" type="slidenum">
              <a:rPr lang="en-GB" smtClean="0"/>
              <a:t>‹#›</a:t>
            </a:fld>
            <a:endParaRPr lang="en-GB" dirty="0"/>
          </a:p>
        </p:txBody>
      </p:sp>
      <p:sp>
        <p:nvSpPr>
          <p:cNvPr id="23" name="Freeform: Shape 22">
            <a:extLst>
              <a:ext uri="{FF2B5EF4-FFF2-40B4-BE49-F238E27FC236}">
                <a16:creationId xmlns:a16="http://schemas.microsoft.com/office/drawing/2014/main" id="{CAD1191B-7649-0799-2E21-7E8724762745}"/>
              </a:ext>
            </a:extLst>
          </p:cNvPr>
          <p:cNvSpPr/>
          <p:nvPr userDrawn="1"/>
        </p:nvSpPr>
        <p:spPr>
          <a:xfrm flipH="1">
            <a:off x="6343650" y="5657850"/>
            <a:ext cx="5848350" cy="1200150"/>
          </a:xfrm>
          <a:custGeom>
            <a:avLst/>
            <a:gdLst>
              <a:gd name="connsiteX0" fmla="*/ 5848350 w 5848350"/>
              <a:gd name="connsiteY0" fmla="*/ 0 h 1200150"/>
              <a:gd name="connsiteX1" fmla="*/ 0 w 5848350"/>
              <a:gd name="connsiteY1" fmla="*/ 0 h 1200150"/>
              <a:gd name="connsiteX2" fmla="*/ 0 w 5848350"/>
              <a:gd name="connsiteY2" fmla="*/ 1200150 h 1200150"/>
              <a:gd name="connsiteX3" fmla="*/ 5451628 w 5848350"/>
              <a:gd name="connsiteY3" fmla="*/ 1200150 h 1200150"/>
            </a:gdLst>
            <a:ahLst/>
            <a:cxnLst>
              <a:cxn ang="0">
                <a:pos x="connsiteX0" y="connsiteY0"/>
              </a:cxn>
              <a:cxn ang="0">
                <a:pos x="connsiteX1" y="connsiteY1"/>
              </a:cxn>
              <a:cxn ang="0">
                <a:pos x="connsiteX2" y="connsiteY2"/>
              </a:cxn>
              <a:cxn ang="0">
                <a:pos x="connsiteX3" y="connsiteY3"/>
              </a:cxn>
            </a:cxnLst>
            <a:rect l="l" t="t" r="r" b="b"/>
            <a:pathLst>
              <a:path w="5848350" h="1200150">
                <a:moveTo>
                  <a:pt x="5848350" y="0"/>
                </a:moveTo>
                <a:lnTo>
                  <a:pt x="0" y="0"/>
                </a:lnTo>
                <a:lnTo>
                  <a:pt x="0" y="1200150"/>
                </a:lnTo>
                <a:lnTo>
                  <a:pt x="5451628" y="120015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dirty="0"/>
          </a:p>
        </p:txBody>
      </p:sp>
      <p:sp>
        <p:nvSpPr>
          <p:cNvPr id="25" name="Isosceles Triangle 24">
            <a:extLst>
              <a:ext uri="{FF2B5EF4-FFF2-40B4-BE49-F238E27FC236}">
                <a16:creationId xmlns:a16="http://schemas.microsoft.com/office/drawing/2014/main" id="{41C2F658-7653-36BC-AE32-0CB4D8CBFFF4}"/>
              </a:ext>
            </a:extLst>
          </p:cNvPr>
          <p:cNvSpPr/>
          <p:nvPr userDrawn="1"/>
        </p:nvSpPr>
        <p:spPr>
          <a:xfrm rot="10800000">
            <a:off x="5241264" y="0"/>
            <a:ext cx="1281455" cy="1924050"/>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ID" dirty="0"/>
          </a:p>
        </p:txBody>
      </p:sp>
      <p:pic>
        <p:nvPicPr>
          <p:cNvPr id="26" name="Picture 25" descr="A picture containing logo&#10;&#10;Description automatically generated">
            <a:extLst>
              <a:ext uri="{FF2B5EF4-FFF2-40B4-BE49-F238E27FC236}">
                <a16:creationId xmlns:a16="http://schemas.microsoft.com/office/drawing/2014/main" id="{AFCCE3E9-1F8F-8E73-DA24-53880DD9AA83}"/>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43612" y="345311"/>
            <a:ext cx="2055770" cy="842577"/>
          </a:xfrm>
          <a:prstGeom prst="rect">
            <a:avLst/>
          </a:prstGeom>
        </p:spPr>
      </p:pic>
      <p:sp>
        <p:nvSpPr>
          <p:cNvPr id="5" name="Isosceles Triangle 4">
            <a:extLst>
              <a:ext uri="{FF2B5EF4-FFF2-40B4-BE49-F238E27FC236}">
                <a16:creationId xmlns:a16="http://schemas.microsoft.com/office/drawing/2014/main" id="{62CDAE4C-5272-4D1C-72B9-9EC3BB394D3F}"/>
              </a:ext>
            </a:extLst>
          </p:cNvPr>
          <p:cNvSpPr/>
          <p:nvPr userDrawn="1"/>
        </p:nvSpPr>
        <p:spPr>
          <a:xfrm rot="10800000">
            <a:off x="5371511" y="0"/>
            <a:ext cx="1281455" cy="1924050"/>
          </a:xfrm>
          <a:prstGeom prst="triangle">
            <a:avLst>
              <a:gd name="adj" fmla="val 5223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ID" dirty="0"/>
          </a:p>
        </p:txBody>
      </p:sp>
    </p:spTree>
    <p:extLst>
      <p:ext uri="{BB962C8B-B14F-4D97-AF65-F5344CB8AC3E}">
        <p14:creationId xmlns:p14="http://schemas.microsoft.com/office/powerpoint/2010/main" val="9835045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8EAF95CC-4EDE-4044-6267-10738B8B764D}"/>
              </a:ext>
            </a:extLst>
          </p:cNvPr>
          <p:cNvGraphicFramePr>
            <a:graphicFrameLocks noChangeAspect="1"/>
          </p:cNvGraphicFramePr>
          <p:nvPr userDrawn="1">
            <p:custDataLst>
              <p:tags r:id="rId1"/>
            </p:custDataLst>
            <p:extLst>
              <p:ext uri="{D42A27DB-BD31-4B8C-83A1-F6EECF244321}">
                <p14:modId xmlns:p14="http://schemas.microsoft.com/office/powerpoint/2010/main" val="1025958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2" name="Object 11" hidden="1">
                        <a:extLst>
                          <a:ext uri="{FF2B5EF4-FFF2-40B4-BE49-F238E27FC236}">
                            <a16:creationId xmlns:a16="http://schemas.microsoft.com/office/drawing/2014/main" id="{8EAF95CC-4EDE-4044-6267-10738B8B76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1D95DB53-0CD0-C296-2CEF-5BD99C851610}"/>
              </a:ext>
            </a:extLst>
          </p:cNvPr>
          <p:cNvSpPr>
            <a:spLocks noGrp="1"/>
          </p:cNvSpPr>
          <p:nvPr>
            <p:ph type="pic" sz="quarter" idx="14"/>
          </p:nvPr>
        </p:nvSpPr>
        <p:spPr>
          <a:xfrm>
            <a:off x="5966234" y="1"/>
            <a:ext cx="6225766" cy="6867525"/>
          </a:xfrm>
          <a:custGeom>
            <a:avLst/>
            <a:gdLst>
              <a:gd name="connsiteX0" fmla="*/ 1695450 w 6225766"/>
              <a:gd name="connsiteY0" fmla="*/ 0 h 6867525"/>
              <a:gd name="connsiteX1" fmla="*/ 6225766 w 6225766"/>
              <a:gd name="connsiteY1" fmla="*/ 9525 h 6867525"/>
              <a:gd name="connsiteX2" fmla="*/ 6225766 w 6225766"/>
              <a:gd name="connsiteY2" fmla="*/ 6867525 h 6867525"/>
              <a:gd name="connsiteX3" fmla="*/ 0 w 6225766"/>
              <a:gd name="connsiteY3" fmla="*/ 6867525 h 6867525"/>
            </a:gdLst>
            <a:ahLst/>
            <a:cxnLst>
              <a:cxn ang="0">
                <a:pos x="connsiteX0" y="connsiteY0"/>
              </a:cxn>
              <a:cxn ang="0">
                <a:pos x="connsiteX1" y="connsiteY1"/>
              </a:cxn>
              <a:cxn ang="0">
                <a:pos x="connsiteX2" y="connsiteY2"/>
              </a:cxn>
              <a:cxn ang="0">
                <a:pos x="connsiteX3" y="connsiteY3"/>
              </a:cxn>
            </a:cxnLst>
            <a:rect l="l" t="t" r="r" b="b"/>
            <a:pathLst>
              <a:path w="6225766" h="6867525">
                <a:moveTo>
                  <a:pt x="1695450" y="0"/>
                </a:moveTo>
                <a:lnTo>
                  <a:pt x="6225766" y="9525"/>
                </a:lnTo>
                <a:lnTo>
                  <a:pt x="6225766" y="6867525"/>
                </a:lnTo>
                <a:lnTo>
                  <a:pt x="0" y="6867525"/>
                </a:lnTo>
                <a:close/>
              </a:path>
            </a:pathLst>
          </a:custGeom>
        </p:spPr>
        <p:txBody>
          <a:bodyPr wrap="square">
            <a:noAutofit/>
          </a:bodyPr>
          <a:lstStyle/>
          <a:p>
            <a:endParaRPr lang="en-GB" dirty="0"/>
          </a:p>
        </p:txBody>
      </p:sp>
      <p:sp>
        <p:nvSpPr>
          <p:cNvPr id="2" name="Title 1">
            <a:extLst>
              <a:ext uri="{FF2B5EF4-FFF2-40B4-BE49-F238E27FC236}">
                <a16:creationId xmlns:a16="http://schemas.microsoft.com/office/drawing/2014/main" id="{856BEEEA-2674-C3D6-98D3-FBD240C4799A}"/>
              </a:ext>
            </a:extLst>
          </p:cNvPr>
          <p:cNvSpPr>
            <a:spLocks noGrp="1"/>
          </p:cNvSpPr>
          <p:nvPr>
            <p:ph type="title" hasCustomPrompt="1"/>
          </p:nvPr>
        </p:nvSpPr>
        <p:spPr>
          <a:xfrm>
            <a:off x="658482" y="2998775"/>
            <a:ext cx="5437517" cy="1231106"/>
          </a:xfrm>
        </p:spPr>
        <p:txBody>
          <a:bodyPr vert="horz" anchor="b"/>
          <a:lstStyle>
            <a:lvl1pPr>
              <a:defRPr sz="8000"/>
            </a:lvl1pPr>
          </a:lstStyle>
          <a:p>
            <a:r>
              <a:rPr lang="en-US" dirty="0"/>
              <a:t>Thank You</a:t>
            </a:r>
            <a:endParaRPr lang="en-GB" dirty="0"/>
          </a:p>
        </p:txBody>
      </p:sp>
      <p:sp>
        <p:nvSpPr>
          <p:cNvPr id="6" name="Slide Number Placeholder 5">
            <a:extLst>
              <a:ext uri="{FF2B5EF4-FFF2-40B4-BE49-F238E27FC236}">
                <a16:creationId xmlns:a16="http://schemas.microsoft.com/office/drawing/2014/main" id="{2529795C-DC78-EE24-2042-5D67293B429E}"/>
              </a:ext>
            </a:extLst>
          </p:cNvPr>
          <p:cNvSpPr>
            <a:spLocks noGrp="1"/>
          </p:cNvSpPr>
          <p:nvPr>
            <p:ph type="sldNum" sz="quarter" idx="12"/>
          </p:nvPr>
        </p:nvSpPr>
        <p:spPr/>
        <p:txBody>
          <a:bodyPr/>
          <a:lstStyle/>
          <a:p>
            <a:fld id="{81BB80E6-A275-47B1-83C7-F87E1B6AA4DD}" type="slidenum">
              <a:rPr lang="en-GB" smtClean="0"/>
              <a:t>‹#›</a:t>
            </a:fld>
            <a:endParaRPr lang="en-GB" dirty="0"/>
          </a:p>
        </p:txBody>
      </p:sp>
      <p:sp>
        <p:nvSpPr>
          <p:cNvPr id="9" name="Parallelogram 8">
            <a:extLst>
              <a:ext uri="{FF2B5EF4-FFF2-40B4-BE49-F238E27FC236}">
                <a16:creationId xmlns:a16="http://schemas.microsoft.com/office/drawing/2014/main" id="{BBA952C5-EB75-7D90-37F7-C1D242DB71DB}"/>
              </a:ext>
            </a:extLst>
          </p:cNvPr>
          <p:cNvSpPr/>
          <p:nvPr userDrawn="1"/>
        </p:nvSpPr>
        <p:spPr>
          <a:xfrm>
            <a:off x="6719505" y="300031"/>
            <a:ext cx="871646" cy="2698744"/>
          </a:xfrm>
          <a:prstGeom prst="parallelogram">
            <a:avLst>
              <a:gd name="adj" fmla="val 76072"/>
            </a:avLst>
          </a:pr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pic>
        <p:nvPicPr>
          <p:cNvPr id="20" name="Picture 19" descr="A picture containing logo&#10;&#10;Description automatically generated">
            <a:extLst>
              <a:ext uri="{FF2B5EF4-FFF2-40B4-BE49-F238E27FC236}">
                <a16:creationId xmlns:a16="http://schemas.microsoft.com/office/drawing/2014/main" id="{064EDB97-F7E0-5A11-556E-726B2B186EB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43612" y="345311"/>
            <a:ext cx="2055770" cy="842577"/>
          </a:xfrm>
          <a:prstGeom prst="rect">
            <a:avLst/>
          </a:prstGeom>
        </p:spPr>
      </p:pic>
      <p:sp>
        <p:nvSpPr>
          <p:cNvPr id="21" name="Right Triangle 20">
            <a:extLst>
              <a:ext uri="{FF2B5EF4-FFF2-40B4-BE49-F238E27FC236}">
                <a16:creationId xmlns:a16="http://schemas.microsoft.com/office/drawing/2014/main" id="{7349EC10-D2E5-75E5-0988-972C3AA99C45}"/>
              </a:ext>
            </a:extLst>
          </p:cNvPr>
          <p:cNvSpPr/>
          <p:nvPr userDrawn="1"/>
        </p:nvSpPr>
        <p:spPr>
          <a:xfrm>
            <a:off x="0" y="5753100"/>
            <a:ext cx="1104900" cy="1104900"/>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0695250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7" name="Do not remove" hidden="1">
            <a:extLst>
              <a:ext uri="{FF2B5EF4-FFF2-40B4-BE49-F238E27FC236}">
                <a16:creationId xmlns:a16="http://schemas.microsoft.com/office/drawing/2014/main" id="{07726EEF-EA1B-F307-D79C-885D6D566623}"/>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9" name="Object 8" hidden="1">
            <a:extLst>
              <a:ext uri="{FF2B5EF4-FFF2-40B4-BE49-F238E27FC236}">
                <a16:creationId xmlns:a16="http://schemas.microsoft.com/office/drawing/2014/main" id="{854DC6D4-C661-1F7F-EC8A-2AEF55DE5293}"/>
              </a:ext>
            </a:extLst>
          </p:cNvPr>
          <p:cNvGraphicFramePr>
            <a:graphicFrameLocks noChangeAspect="1"/>
          </p:cNvGraphicFramePr>
          <p:nvPr userDrawn="1">
            <p:custDataLst>
              <p:tags r:id="rId2"/>
            </p:custDataLst>
            <p:extLst>
              <p:ext uri="{D42A27DB-BD31-4B8C-83A1-F6EECF244321}">
                <p14:modId xmlns:p14="http://schemas.microsoft.com/office/powerpoint/2010/main" val="1199969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854DC6D4-C661-1F7F-EC8A-2AEF55DE52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2E04C1-9855-9F57-D805-95D527FB54DB}"/>
              </a:ext>
            </a:extLst>
          </p:cNvPr>
          <p:cNvSpPr>
            <a:spLocks noGrp="1"/>
          </p:cNvSpPr>
          <p:nvPr>
            <p:ph type="ctrTitle"/>
          </p:nvPr>
        </p:nvSpPr>
        <p:spPr>
          <a:xfrm>
            <a:off x="609600" y="2675712"/>
            <a:ext cx="4849640" cy="1354217"/>
          </a:xfrm>
        </p:spPr>
        <p:txBody>
          <a:bodyPr vert="horz" anchor="b"/>
          <a:lstStyle>
            <a:lvl1pPr algn="l">
              <a:defRPr sz="4400"/>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A4D05D72-F8E9-3FFC-1B6C-6C361ADF0F46}"/>
              </a:ext>
            </a:extLst>
          </p:cNvPr>
          <p:cNvSpPr>
            <a:spLocks noGrp="1"/>
          </p:cNvSpPr>
          <p:nvPr>
            <p:ph type="subTitle" idx="1"/>
          </p:nvPr>
        </p:nvSpPr>
        <p:spPr>
          <a:xfrm>
            <a:off x="609600" y="4290278"/>
            <a:ext cx="4849640" cy="307777"/>
          </a:xfrm>
        </p:spPr>
        <p:txBody>
          <a:bodyPr>
            <a:sp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4" name="Date Placeholder 3">
            <a:extLst>
              <a:ext uri="{FF2B5EF4-FFF2-40B4-BE49-F238E27FC236}">
                <a16:creationId xmlns:a16="http://schemas.microsoft.com/office/drawing/2014/main" id="{09509727-7AAF-CC2D-5129-89B32E263902}"/>
              </a:ext>
            </a:extLst>
          </p:cNvPr>
          <p:cNvSpPr>
            <a:spLocks noGrp="1"/>
          </p:cNvSpPr>
          <p:nvPr>
            <p:ph type="dt" sz="half" idx="10"/>
          </p:nvPr>
        </p:nvSpPr>
        <p:spPr>
          <a:xfrm>
            <a:off x="609600" y="5539898"/>
            <a:ext cx="2743200" cy="215444"/>
          </a:xfrm>
          <a:prstGeom prst="rect">
            <a:avLst/>
          </a:prstGeom>
        </p:spPr>
        <p:txBody>
          <a:bodyPr lIns="0" tIns="0" rIns="0" bIns="0">
            <a:spAutoFit/>
          </a:bodyPr>
          <a:lstStyle>
            <a:lvl1pPr>
              <a:defRPr sz="1400"/>
            </a:lvl1pPr>
          </a:lstStyle>
          <a:p>
            <a:fld id="{1AA92E4D-E1AB-4C57-B42F-043DE36F5C5E}" type="datetime1">
              <a:rPr lang="en-GB" smtClean="0"/>
              <a:t>15/12/2023</a:t>
            </a:fld>
            <a:endParaRPr lang="en-GB" dirty="0"/>
          </a:p>
        </p:txBody>
      </p:sp>
      <p:sp>
        <p:nvSpPr>
          <p:cNvPr id="6" name="Slide Number Placeholder 5">
            <a:extLst>
              <a:ext uri="{FF2B5EF4-FFF2-40B4-BE49-F238E27FC236}">
                <a16:creationId xmlns:a16="http://schemas.microsoft.com/office/drawing/2014/main" id="{31EE4F48-9549-18B2-9910-CBE9BB9048C1}"/>
              </a:ext>
            </a:extLst>
          </p:cNvPr>
          <p:cNvSpPr>
            <a:spLocks noGrp="1"/>
          </p:cNvSpPr>
          <p:nvPr>
            <p:ph type="sldNum" sz="quarter" idx="12"/>
          </p:nvPr>
        </p:nvSpPr>
        <p:spPr/>
        <p:txBody>
          <a:bodyPr/>
          <a:lstStyle/>
          <a:p>
            <a:fld id="{81BB80E6-A275-47B1-83C7-F87E1B6AA4DD}" type="slidenum">
              <a:rPr lang="en-GB" smtClean="0"/>
              <a:t>‹#›</a:t>
            </a:fld>
            <a:endParaRPr lang="en-GB" dirty="0"/>
          </a:p>
        </p:txBody>
      </p:sp>
      <p:pic>
        <p:nvPicPr>
          <p:cNvPr id="8" name="Picture 7" descr="A picture containing logo&#10;&#10;Description automatically generated">
            <a:extLst>
              <a:ext uri="{FF2B5EF4-FFF2-40B4-BE49-F238E27FC236}">
                <a16:creationId xmlns:a16="http://schemas.microsoft.com/office/drawing/2014/main" id="{1C539826-9236-94A9-39E0-B728DC77272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38175" y="345311"/>
            <a:ext cx="2055770" cy="842577"/>
          </a:xfrm>
          <a:prstGeom prst="rect">
            <a:avLst/>
          </a:prstGeom>
        </p:spPr>
      </p:pic>
      <p:sp>
        <p:nvSpPr>
          <p:cNvPr id="10" name="Right Triangle 9">
            <a:extLst>
              <a:ext uri="{FF2B5EF4-FFF2-40B4-BE49-F238E27FC236}">
                <a16:creationId xmlns:a16="http://schemas.microsoft.com/office/drawing/2014/main" id="{6E422963-57C1-6970-0719-EC704051D1DD}"/>
              </a:ext>
            </a:extLst>
          </p:cNvPr>
          <p:cNvSpPr/>
          <p:nvPr userDrawn="1"/>
        </p:nvSpPr>
        <p:spPr>
          <a:xfrm flipV="1">
            <a:off x="0" y="0"/>
            <a:ext cx="1104900" cy="1104900"/>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0355466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3CF8E65-34FD-F1A5-8BE9-F83FB1B712E7}"/>
              </a:ext>
            </a:extLst>
          </p:cNvPr>
          <p:cNvGraphicFramePr>
            <a:graphicFrameLocks noChangeAspect="1"/>
          </p:cNvGraphicFramePr>
          <p:nvPr userDrawn="1">
            <p:custDataLst>
              <p:tags r:id="rId11"/>
            </p:custDataLst>
            <p:extLst>
              <p:ext uri="{D42A27DB-BD31-4B8C-83A1-F6EECF244321}">
                <p14:modId xmlns:p14="http://schemas.microsoft.com/office/powerpoint/2010/main" val="507369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7" imgH="348" progId="TCLayout.ActiveDocument.1">
                  <p:embed/>
                </p:oleObj>
              </mc:Choice>
              <mc:Fallback>
                <p:oleObj name="think-cell Slide" r:id="rId12" imgW="347" imgH="348" progId="TCLayout.ActiveDocument.1">
                  <p:embed/>
                  <p:pic>
                    <p:nvPicPr>
                      <p:cNvPr id="8" name="Object 7" hidden="1">
                        <a:extLst>
                          <a:ext uri="{FF2B5EF4-FFF2-40B4-BE49-F238E27FC236}">
                            <a16:creationId xmlns:a16="http://schemas.microsoft.com/office/drawing/2014/main" id="{13CF8E65-34FD-F1A5-8BE9-F83FB1B712E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76ADE5F-F785-6460-D07E-DF836FB4958F}"/>
              </a:ext>
            </a:extLst>
          </p:cNvPr>
          <p:cNvSpPr>
            <a:spLocks noGrp="1"/>
          </p:cNvSpPr>
          <p:nvPr>
            <p:ph type="title"/>
          </p:nvPr>
        </p:nvSpPr>
        <p:spPr>
          <a:xfrm>
            <a:off x="642796" y="317381"/>
            <a:ext cx="11337304" cy="553998"/>
          </a:xfrm>
          <a:prstGeom prst="rect">
            <a:avLst/>
          </a:prstGeom>
        </p:spPr>
        <p:txBody>
          <a:bodyPr vert="horz" wrap="square" lIns="0" tIns="0" rIns="0" bIns="0" rtlCol="0" anchor="ctr">
            <a:spAutoFit/>
          </a:body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61CEC17D-D0A4-7B40-3731-81DEF7D81D66}"/>
              </a:ext>
            </a:extLst>
          </p:cNvPr>
          <p:cNvSpPr>
            <a:spLocks noGrp="1"/>
          </p:cNvSpPr>
          <p:nvPr>
            <p:ph type="body" idx="1"/>
          </p:nvPr>
        </p:nvSpPr>
        <p:spPr>
          <a:xfrm>
            <a:off x="609600" y="1825625"/>
            <a:ext cx="11155052" cy="435133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a:extLst>
              <a:ext uri="{FF2B5EF4-FFF2-40B4-BE49-F238E27FC236}">
                <a16:creationId xmlns:a16="http://schemas.microsoft.com/office/drawing/2014/main" id="{BBD587B7-F6C7-AA5C-F7C1-1B977E09812E}"/>
              </a:ext>
            </a:extLst>
          </p:cNvPr>
          <p:cNvSpPr>
            <a:spLocks noGrp="1"/>
          </p:cNvSpPr>
          <p:nvPr>
            <p:ph type="ftr" sz="quarter" idx="3"/>
          </p:nvPr>
        </p:nvSpPr>
        <p:spPr>
          <a:xfrm>
            <a:off x="609600" y="6477357"/>
            <a:ext cx="7726052" cy="123111"/>
          </a:xfrm>
          <a:prstGeom prst="rect">
            <a:avLst/>
          </a:prstGeom>
        </p:spPr>
        <p:txBody>
          <a:bodyPr vert="horz" lIns="0" tIns="0" rIns="0" bIns="0" rtlCol="0" anchor="ctr">
            <a:spAutoFit/>
          </a:bodyPr>
          <a:lstStyle>
            <a:lvl1pPr algn="ctr">
              <a:lnSpc>
                <a:spcPct val="100000"/>
              </a:lnSpc>
              <a:defRPr sz="800">
                <a:solidFill>
                  <a:schemeClr val="tx1">
                    <a:tint val="75000"/>
                  </a:schemeClr>
                </a:solidFill>
              </a:defRPr>
            </a:lvl1pPr>
          </a:lstStyle>
          <a:p>
            <a:endParaRPr lang="en-GB" dirty="0"/>
          </a:p>
        </p:txBody>
      </p:sp>
      <p:sp>
        <p:nvSpPr>
          <p:cNvPr id="6" name="Slide Number Placeholder 5">
            <a:extLst>
              <a:ext uri="{FF2B5EF4-FFF2-40B4-BE49-F238E27FC236}">
                <a16:creationId xmlns:a16="http://schemas.microsoft.com/office/drawing/2014/main" id="{2C6A3242-EB40-7608-E9C0-850DF992CE90}"/>
              </a:ext>
            </a:extLst>
          </p:cNvPr>
          <p:cNvSpPr>
            <a:spLocks noGrp="1"/>
          </p:cNvSpPr>
          <p:nvPr>
            <p:ph type="sldNum" sz="quarter" idx="4"/>
          </p:nvPr>
        </p:nvSpPr>
        <p:spPr>
          <a:xfrm>
            <a:off x="11644427" y="6477357"/>
            <a:ext cx="120225" cy="123111"/>
          </a:xfrm>
          <a:prstGeom prst="rect">
            <a:avLst/>
          </a:prstGeom>
        </p:spPr>
        <p:txBody>
          <a:bodyPr vert="horz" wrap="none" lIns="0" tIns="0" rIns="0" bIns="0" rtlCol="0" anchor="ctr">
            <a:spAutoFit/>
          </a:bodyPr>
          <a:lstStyle>
            <a:lvl1pPr algn="r">
              <a:lnSpc>
                <a:spcPct val="100000"/>
              </a:lnSpc>
              <a:defRPr sz="800">
                <a:solidFill>
                  <a:schemeClr val="tx1">
                    <a:tint val="75000"/>
                  </a:schemeClr>
                </a:solidFill>
              </a:defRPr>
            </a:lvl1pPr>
          </a:lstStyle>
          <a:p>
            <a:fld id="{81BB80E6-A275-47B1-83C7-F87E1B6AA4DD}" type="slidenum">
              <a:rPr lang="en-GB" smtClean="0"/>
              <a:pPr/>
              <a:t>‹#›</a:t>
            </a:fld>
            <a:endParaRPr lang="en-GB" dirty="0"/>
          </a:p>
        </p:txBody>
      </p:sp>
    </p:spTree>
    <p:extLst>
      <p:ext uri="{BB962C8B-B14F-4D97-AF65-F5344CB8AC3E}">
        <p14:creationId xmlns:p14="http://schemas.microsoft.com/office/powerpoint/2010/main" val="1310597909"/>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3" r:id="rId3"/>
    <p:sldLayoutId id="2147483650" r:id="rId4"/>
    <p:sldLayoutId id="2147483661" r:id="rId5"/>
    <p:sldLayoutId id="2147483652" r:id="rId6"/>
    <p:sldLayoutId id="2147483651" r:id="rId7"/>
    <p:sldLayoutId id="2147483662" r:id="rId8"/>
    <p:sldLayoutId id="2147483664" r:id="rId9"/>
  </p:sldLayoutIdLst>
  <p:hf hdr="0" ftr="0" dt="0"/>
  <p:txStyles>
    <p:titleStyle>
      <a:lvl1pPr algn="l" defTabSz="914400" rtl="0" eaLnBrk="1" latinLnBrk="0" hangingPunct="1">
        <a:lnSpc>
          <a:spcPct val="100000"/>
        </a:lnSpc>
        <a:spcBef>
          <a:spcPct val="0"/>
        </a:spcBef>
        <a:buNone/>
        <a:defRPr sz="36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mn-lt"/>
          <a:ea typeface="+mn-ea"/>
          <a:cs typeface="+mn-cs"/>
        </a:defRPr>
      </a:lvl2pPr>
      <a:lvl3pPr marL="457200" indent="-228600" algn="l" defTabSz="914400" rtl="0" eaLnBrk="1" latinLnBrk="0" hangingPunct="1">
        <a:lnSpc>
          <a:spcPct val="100000"/>
        </a:lnSpc>
        <a:spcBef>
          <a:spcPts val="500"/>
        </a:spcBef>
        <a:buFont typeface="Public Sans" pitchFamily="2" charset="0"/>
        <a:buChar char="–"/>
        <a:defRPr sz="1800" kern="1200">
          <a:solidFill>
            <a:schemeClr val="tx1"/>
          </a:solidFill>
          <a:latin typeface="+mn-lt"/>
          <a:ea typeface="+mn-ea"/>
          <a:cs typeface="+mn-cs"/>
        </a:defRPr>
      </a:lvl3pPr>
      <a:lvl4pPr marL="6858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mn-lt"/>
          <a:ea typeface="+mn-ea"/>
          <a:cs typeface="+mn-cs"/>
        </a:defRPr>
      </a:lvl4pPr>
      <a:lvl5pPr marL="914400" indent="-228600" algn="l" defTabSz="914400" rtl="0" eaLnBrk="1" latinLnBrk="0" hangingPunct="1">
        <a:lnSpc>
          <a:spcPct val="100000"/>
        </a:lnSpc>
        <a:spcBef>
          <a:spcPts val="500"/>
        </a:spcBef>
        <a:buFont typeface="Public Sans" pitchFamily="2"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96" userDrawn="1">
          <p15:clr>
            <a:srgbClr val="F26B43"/>
          </p15:clr>
        </p15:guide>
        <p15:guide id="2" pos="38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11.svg"/><Relationship Id="rId13" Type="http://schemas.openxmlformats.org/officeDocument/2006/relationships/image" Target="../media/image5.png"/><Relationship Id="rId3" Type="http://schemas.openxmlformats.org/officeDocument/2006/relationships/oleObject" Target="../embeddings/oleObject11.bin"/><Relationship Id="rId7" Type="http://schemas.openxmlformats.org/officeDocument/2006/relationships/image" Target="../media/image10.png"/><Relationship Id="rId12" Type="http://schemas.openxmlformats.org/officeDocument/2006/relationships/image" Target="../media/image15.svg"/><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9.sv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svg"/><Relationship Id="rId4" Type="http://schemas.openxmlformats.org/officeDocument/2006/relationships/image" Target="../media/image7.emf"/><Relationship Id="rId9" Type="http://schemas.openxmlformats.org/officeDocument/2006/relationships/image" Target="../media/image12.png"/></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5.xml"/><Relationship Id="rId1" Type="http://schemas.openxmlformats.org/officeDocument/2006/relationships/tags" Target="../tags/tag18.xml"/><Relationship Id="rId6" Type="http://schemas.openxmlformats.org/officeDocument/2006/relationships/image" Target="../media/image5.png"/><Relationship Id="rId5" Type="http://schemas.openxmlformats.org/officeDocument/2006/relationships/image" Target="../media/image16.jpe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7.emf"/><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3FE0CE0F-EABE-D0B4-1B02-8C5908421D4D}"/>
              </a:ext>
            </a:extLst>
          </p:cNvPr>
          <p:cNvSpPr>
            <a:spLocks noGrp="1"/>
          </p:cNvSpPr>
          <p:nvPr>
            <p:ph type="ctrTitle"/>
          </p:nvPr>
        </p:nvSpPr>
        <p:spPr>
          <a:xfrm>
            <a:off x="609600" y="2572320"/>
            <a:ext cx="4849640" cy="1231106"/>
          </a:xfrm>
        </p:spPr>
        <p:txBody>
          <a:bodyPr/>
          <a:lstStyle/>
          <a:p>
            <a:r>
              <a:rPr lang="en-US" sz="4000" dirty="0"/>
              <a:t>Financial Wellness Begins With Education</a:t>
            </a:r>
          </a:p>
        </p:txBody>
      </p:sp>
      <p:sp>
        <p:nvSpPr>
          <p:cNvPr id="12" name="Subtitle 2">
            <a:extLst>
              <a:ext uri="{FF2B5EF4-FFF2-40B4-BE49-F238E27FC236}">
                <a16:creationId xmlns:a16="http://schemas.microsoft.com/office/drawing/2014/main" id="{DB4D4659-6EFB-DC58-427E-5065B0CF9683}"/>
              </a:ext>
            </a:extLst>
          </p:cNvPr>
          <p:cNvSpPr txBox="1">
            <a:spLocks/>
          </p:cNvSpPr>
          <p:nvPr/>
        </p:nvSpPr>
        <p:spPr>
          <a:xfrm>
            <a:off x="609600" y="6278471"/>
            <a:ext cx="4849640" cy="307777"/>
          </a:xfrm>
          <a:prstGeom prst="rect">
            <a:avLst/>
          </a:prstGeom>
        </p:spPr>
        <p:txBody>
          <a:bodyPr vert="horz" lIns="0" tIns="0" rIns="0" bIns="0" rtlCol="0">
            <a:spAutoFit/>
          </a:bodyPr>
          <a:lstStyle>
            <a:lvl1pPr marL="0" indent="0" algn="l" defTabSz="914400" rtl="0" eaLnBrk="1" latinLnBrk="0" hangingPunct="1">
              <a:lnSpc>
                <a:spcPct val="100000"/>
              </a:lnSpc>
              <a:spcBef>
                <a:spcPts val="1000"/>
              </a:spcBef>
              <a:buFont typeface="Arial" panose="020B0604020202020204" pitchFamily="34" charset="0"/>
              <a:buNone/>
              <a:defRPr sz="2000" kern="1200">
                <a:solidFill>
                  <a:schemeClr val="tx1"/>
                </a:solidFill>
                <a:latin typeface="+mn-lt"/>
                <a:ea typeface="+mn-ea"/>
                <a:cs typeface="+mn-cs"/>
              </a:defRPr>
            </a:lvl1pPr>
            <a:lvl2pPr marL="457200" indent="0" algn="ctr" defTabSz="914400" rtl="0" eaLnBrk="1" latinLnBrk="0" hangingPunct="1">
              <a:lnSpc>
                <a:spcPct val="10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500"/>
              </a:spcBef>
              <a:buFont typeface="Public Sans" pitchFamily="2"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500"/>
              </a:spcBef>
              <a:buFont typeface="Public Sans" pitchFamily="2"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t>January 2023 </a:t>
            </a:r>
            <a:r>
              <a:rPr lang="en-US" sz="1200" dirty="0"/>
              <a:t>(Revised  2/24/23)         </a:t>
            </a:r>
            <a:r>
              <a:rPr lang="en-US" sz="1200" dirty="0">
                <a:effectLst/>
                <a:ea typeface="Calibri" panose="020F0502020204030204" pitchFamily="34" charset="0"/>
                <a:cs typeface="Times New Roman" panose="02020603050405020304" pitchFamily="18" charset="0"/>
              </a:rPr>
              <a:t>CRN202607-4595357</a:t>
            </a:r>
            <a:r>
              <a:rPr lang="en-US" sz="1200" dirty="0"/>
              <a:t> </a:t>
            </a:r>
          </a:p>
        </p:txBody>
      </p:sp>
      <p:pic>
        <p:nvPicPr>
          <p:cNvPr id="1026" name="Picture 2">
            <a:extLst>
              <a:ext uri="{FF2B5EF4-FFF2-40B4-BE49-F238E27FC236}">
                <a16:creationId xmlns:a16="http://schemas.microsoft.com/office/drawing/2014/main" id="{F9F7CC56-8F20-BDB4-F95A-98AC418E287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p:blipFill>
        <p:spPr bwMode="auto">
          <a:xfrm>
            <a:off x="1079982" y="4202940"/>
            <a:ext cx="3512212" cy="145414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Pleasant Looking Afro American Woman Holds Notepads Papers Studies College Glad Finish Studying">
            <a:extLst>
              <a:ext uri="{FF2B5EF4-FFF2-40B4-BE49-F238E27FC236}">
                <a16:creationId xmlns:a16="http://schemas.microsoft.com/office/drawing/2014/main" id="{F9BD5CD8-0189-3CE8-2126-28057E6B43A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0063" r="3317"/>
          <a:stretch/>
        </p:blipFill>
        <p:spPr bwMode="auto">
          <a:xfrm>
            <a:off x="6691618" y="0"/>
            <a:ext cx="5500382"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71415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7C771C-A005-3971-93CD-D453A75E33B6}"/>
              </a:ext>
            </a:extLst>
          </p:cNvPr>
          <p:cNvSpPr>
            <a:spLocks noGrp="1"/>
          </p:cNvSpPr>
          <p:nvPr>
            <p:ph type="title"/>
          </p:nvPr>
        </p:nvSpPr>
        <p:spPr/>
        <p:txBody>
          <a:bodyPr/>
          <a:lstStyle/>
          <a:p>
            <a:r>
              <a:rPr lang="en-US" dirty="0"/>
              <a:t>Disclosure</a:t>
            </a:r>
          </a:p>
        </p:txBody>
      </p:sp>
      <p:sp>
        <p:nvSpPr>
          <p:cNvPr id="3" name="Content Placeholder 2">
            <a:extLst>
              <a:ext uri="{FF2B5EF4-FFF2-40B4-BE49-F238E27FC236}">
                <a16:creationId xmlns:a16="http://schemas.microsoft.com/office/drawing/2014/main" id="{772144B7-4BEA-739A-F9A7-8F2D7225CC1B}"/>
              </a:ext>
            </a:extLst>
          </p:cNvPr>
          <p:cNvSpPr>
            <a:spLocks noGrp="1"/>
          </p:cNvSpPr>
          <p:nvPr>
            <p:ph idx="1"/>
          </p:nvPr>
        </p:nvSpPr>
        <p:spPr/>
        <p:txBody>
          <a:bodyPr/>
          <a:lstStyle/>
          <a:p>
            <a:pPr algn="l"/>
            <a:endParaRPr lang="en-US" sz="1800" b="0" i="0" u="none" strike="noStrike" baseline="0" dirty="0">
              <a:solidFill>
                <a:srgbClr val="000000"/>
              </a:solidFill>
              <a:latin typeface="Calibri" panose="020F0502020204030204" pitchFamily="34" charset="0"/>
            </a:endParaRPr>
          </a:p>
          <a:p>
            <a:pPr algn="just"/>
            <a:endParaRPr lang="en-US" sz="1800" b="0" i="0" u="none" strike="noStrike" baseline="0" dirty="0">
              <a:solidFill>
                <a:srgbClr val="000000"/>
              </a:solidFill>
              <a:latin typeface="Calibri" panose="020F0502020204030204" pitchFamily="34" charset="0"/>
            </a:endParaRPr>
          </a:p>
          <a:p>
            <a:pPr algn="just"/>
            <a:endParaRPr lang="en-US" dirty="0">
              <a:solidFill>
                <a:srgbClr val="000000"/>
              </a:solidFill>
              <a:latin typeface="Calibri" panose="020F0502020204030204" pitchFamily="34" charset="0"/>
            </a:endParaRPr>
          </a:p>
          <a:p>
            <a:pPr algn="just"/>
            <a:endParaRPr lang="en-US" sz="1800" b="0" i="0" u="none" strike="noStrike" baseline="0" dirty="0">
              <a:solidFill>
                <a:srgbClr val="000000"/>
              </a:solidFill>
              <a:latin typeface="Calibri" panose="020F0502020204030204" pitchFamily="34" charset="0"/>
            </a:endParaRPr>
          </a:p>
          <a:p>
            <a:pPr marL="0" marR="0">
              <a:lnSpc>
                <a:spcPct val="107000"/>
              </a:lnSpc>
              <a:spcBef>
                <a:spcPts val="0"/>
              </a:spcBef>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The College Tuition Benefit® (CTB) is offered through SAGE Scholars, Inc. and/or SAGE CTB, LLC. which are solely responsible for their own products and services provided and are not affiliated with MML Investors Services, LLC. or its affiliated companies.  Neither MML Investors Services, LLC nor any of its subsidiaries, employees or representatives are authorized to give legal or tax advice. Consult your own personal attorney legal or tax counsel for advice on specific legal and tax </a:t>
            </a:r>
            <a:r>
              <a:rPr lang="en-US" sz="1800" kern="100">
                <a:effectLst/>
                <a:latin typeface="Calibri" panose="020F0502020204030204" pitchFamily="34" charset="0"/>
                <a:ea typeface="Calibri" panose="020F0502020204030204" pitchFamily="34" charset="0"/>
                <a:cs typeface="Times New Roman" panose="02020603050405020304" pitchFamily="18" charset="0"/>
              </a:rPr>
              <a:t>matter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B4A50220-31C7-BCDC-656A-574937404A7A}"/>
              </a:ext>
            </a:extLst>
          </p:cNvPr>
          <p:cNvSpPr>
            <a:spLocks noGrp="1"/>
          </p:cNvSpPr>
          <p:nvPr>
            <p:ph type="sldNum" sz="quarter" idx="12"/>
          </p:nvPr>
        </p:nvSpPr>
        <p:spPr/>
        <p:txBody>
          <a:bodyPr/>
          <a:lstStyle/>
          <a:p>
            <a:fld id="{81BB80E6-A275-47B1-83C7-F87E1B6AA4DD}" type="slidenum">
              <a:rPr lang="en-GB" smtClean="0"/>
              <a:t>2</a:t>
            </a:fld>
            <a:endParaRPr lang="en-GB" dirty="0"/>
          </a:p>
        </p:txBody>
      </p:sp>
      <p:pic>
        <p:nvPicPr>
          <p:cNvPr id="5" name="Picture 4">
            <a:extLst>
              <a:ext uri="{FF2B5EF4-FFF2-40B4-BE49-F238E27FC236}">
                <a16:creationId xmlns:a16="http://schemas.microsoft.com/office/drawing/2014/main" id="{92D7450A-FF93-3EB4-F120-C4C7FFE5DC2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9740283" y="5937504"/>
            <a:ext cx="1808921" cy="748941"/>
          </a:xfrm>
          <a:prstGeom prst="rect">
            <a:avLst/>
          </a:prstGeom>
        </p:spPr>
      </p:pic>
    </p:spTree>
    <p:extLst>
      <p:ext uri="{BB962C8B-B14F-4D97-AF65-F5344CB8AC3E}">
        <p14:creationId xmlns:p14="http://schemas.microsoft.com/office/powerpoint/2010/main" val="37759754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CC9D447A-0D10-79D9-4B55-285BD243AE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8" name="Object 27" hidden="1">
                        <a:extLst>
                          <a:ext uri="{FF2B5EF4-FFF2-40B4-BE49-F238E27FC236}">
                            <a16:creationId xmlns:a16="http://schemas.microsoft.com/office/drawing/2014/main" id="{CC9D447A-0D10-79D9-4B55-285BD243AE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0A7A2AC-85C4-533B-FF24-40BB8B5E1D8D}"/>
              </a:ext>
            </a:extLst>
          </p:cNvPr>
          <p:cNvSpPr>
            <a:spLocks noGrp="1"/>
          </p:cNvSpPr>
          <p:nvPr>
            <p:ph type="title"/>
          </p:nvPr>
        </p:nvSpPr>
        <p:spPr>
          <a:xfrm>
            <a:off x="642796" y="317381"/>
            <a:ext cx="11121856" cy="492443"/>
          </a:xfrm>
        </p:spPr>
        <p:txBody>
          <a:bodyPr vert="horz"/>
          <a:lstStyle/>
          <a:p>
            <a:r>
              <a:rPr lang="en-US" dirty="0"/>
              <a:t>The Need for Educational Financial Wellness</a:t>
            </a:r>
            <a:endParaRPr lang="en-IN" dirty="0"/>
          </a:p>
        </p:txBody>
      </p:sp>
      <p:sp>
        <p:nvSpPr>
          <p:cNvPr id="4" name="Slide Number Placeholder 3">
            <a:extLst>
              <a:ext uri="{FF2B5EF4-FFF2-40B4-BE49-F238E27FC236}">
                <a16:creationId xmlns:a16="http://schemas.microsoft.com/office/drawing/2014/main" id="{EDD9E2ED-758C-6503-0AEF-7A9DB3419D11}"/>
              </a:ext>
            </a:extLst>
          </p:cNvPr>
          <p:cNvSpPr>
            <a:spLocks noGrp="1"/>
          </p:cNvSpPr>
          <p:nvPr>
            <p:ph type="sldNum" sz="quarter" idx="12"/>
          </p:nvPr>
        </p:nvSpPr>
        <p:spPr/>
        <p:txBody>
          <a:bodyPr/>
          <a:lstStyle/>
          <a:p>
            <a:fld id="{81BB80E6-A275-47B1-83C7-F87E1B6AA4DD}" type="slidenum">
              <a:rPr lang="en-GB" smtClean="0"/>
              <a:t>3</a:t>
            </a:fld>
            <a:endParaRPr lang="en-GB" dirty="0"/>
          </a:p>
        </p:txBody>
      </p:sp>
      <p:sp>
        <p:nvSpPr>
          <p:cNvPr id="5" name="Rectangle: Rounded Corners 4">
            <a:extLst>
              <a:ext uri="{FF2B5EF4-FFF2-40B4-BE49-F238E27FC236}">
                <a16:creationId xmlns:a16="http://schemas.microsoft.com/office/drawing/2014/main" id="{F490AF6C-C512-BCC5-7340-32E12F60367F}"/>
              </a:ext>
            </a:extLst>
          </p:cNvPr>
          <p:cNvSpPr/>
          <p:nvPr/>
        </p:nvSpPr>
        <p:spPr>
          <a:xfrm>
            <a:off x="642796" y="1864568"/>
            <a:ext cx="2535217" cy="3279990"/>
          </a:xfrm>
          <a:prstGeom prst="roundRect">
            <a:avLst>
              <a:gd name="adj" fmla="val 5444"/>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Rounded Corners 5">
            <a:extLst>
              <a:ext uri="{FF2B5EF4-FFF2-40B4-BE49-F238E27FC236}">
                <a16:creationId xmlns:a16="http://schemas.microsoft.com/office/drawing/2014/main" id="{1F513B49-C17B-C602-7C18-CAE6C12D6305}"/>
              </a:ext>
            </a:extLst>
          </p:cNvPr>
          <p:cNvSpPr/>
          <p:nvPr/>
        </p:nvSpPr>
        <p:spPr>
          <a:xfrm>
            <a:off x="3532540" y="1864568"/>
            <a:ext cx="2535217" cy="3279990"/>
          </a:xfrm>
          <a:prstGeom prst="roundRect">
            <a:avLst>
              <a:gd name="adj" fmla="val 5444"/>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Rounded Corners 6">
            <a:extLst>
              <a:ext uri="{FF2B5EF4-FFF2-40B4-BE49-F238E27FC236}">
                <a16:creationId xmlns:a16="http://schemas.microsoft.com/office/drawing/2014/main" id="{FC81AFA5-BB7D-C633-364F-A70C0B31B00E}"/>
              </a:ext>
            </a:extLst>
          </p:cNvPr>
          <p:cNvSpPr/>
          <p:nvPr/>
        </p:nvSpPr>
        <p:spPr>
          <a:xfrm>
            <a:off x="6422284" y="1864568"/>
            <a:ext cx="2535217" cy="3279990"/>
          </a:xfrm>
          <a:prstGeom prst="roundRect">
            <a:avLst>
              <a:gd name="adj" fmla="val 5444"/>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Rounded Corners 7">
            <a:extLst>
              <a:ext uri="{FF2B5EF4-FFF2-40B4-BE49-F238E27FC236}">
                <a16:creationId xmlns:a16="http://schemas.microsoft.com/office/drawing/2014/main" id="{C80E40AC-A1E5-C0E7-CF32-72AC740A5F18}"/>
              </a:ext>
            </a:extLst>
          </p:cNvPr>
          <p:cNvSpPr/>
          <p:nvPr/>
        </p:nvSpPr>
        <p:spPr>
          <a:xfrm>
            <a:off x="9304956" y="1864568"/>
            <a:ext cx="2535217" cy="3279990"/>
          </a:xfrm>
          <a:prstGeom prst="roundRect">
            <a:avLst>
              <a:gd name="adj" fmla="val 5444"/>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89B12507-7007-CDBC-2D5E-23209DEF066E}"/>
              </a:ext>
            </a:extLst>
          </p:cNvPr>
          <p:cNvSpPr txBox="1"/>
          <p:nvPr/>
        </p:nvSpPr>
        <p:spPr>
          <a:xfrm>
            <a:off x="784965" y="1938075"/>
            <a:ext cx="2250878" cy="830997"/>
          </a:xfrm>
          <a:prstGeom prst="rect">
            <a:avLst/>
          </a:prstGeom>
          <a:noFill/>
        </p:spPr>
        <p:txBody>
          <a:bodyPr wrap="square" lIns="0" tIns="0" rIns="0" bIns="0" rtlCol="0" anchor="t" anchorCtr="0">
            <a:spAutoFit/>
          </a:bodyPr>
          <a:lstStyle/>
          <a:p>
            <a:pPr algn="ctr"/>
            <a:r>
              <a:rPr lang="en-US" b="1" kern="0" dirty="0">
                <a:solidFill>
                  <a:schemeClr val="tx2"/>
                </a:solidFill>
                <a:ea typeface="ＭＳ Ｐゴシック"/>
              </a:rPr>
              <a:t>Average Cost to Attend College is $142,000 in the U.S.</a:t>
            </a:r>
            <a:endParaRPr lang="en-US" dirty="0">
              <a:solidFill>
                <a:schemeClr val="tx2"/>
              </a:solidFill>
            </a:endParaRPr>
          </a:p>
        </p:txBody>
      </p:sp>
      <p:sp>
        <p:nvSpPr>
          <p:cNvPr id="10" name="TextBox 9">
            <a:extLst>
              <a:ext uri="{FF2B5EF4-FFF2-40B4-BE49-F238E27FC236}">
                <a16:creationId xmlns:a16="http://schemas.microsoft.com/office/drawing/2014/main" id="{02E933EA-09DA-D436-A313-5DCDCBE9AAA4}"/>
              </a:ext>
            </a:extLst>
          </p:cNvPr>
          <p:cNvSpPr txBox="1"/>
          <p:nvPr/>
        </p:nvSpPr>
        <p:spPr>
          <a:xfrm>
            <a:off x="3794308" y="1938075"/>
            <a:ext cx="2011680" cy="830997"/>
          </a:xfrm>
          <a:prstGeom prst="rect">
            <a:avLst/>
          </a:prstGeom>
          <a:noFill/>
        </p:spPr>
        <p:txBody>
          <a:bodyPr wrap="square" lIns="0" tIns="0" rIns="0" bIns="0" rtlCol="0" anchor="t" anchorCtr="0">
            <a:spAutoFit/>
          </a:bodyPr>
          <a:lstStyle/>
          <a:p>
            <a:pPr algn="ctr"/>
            <a:r>
              <a:rPr lang="en-US" b="1" kern="0" dirty="0">
                <a:solidFill>
                  <a:schemeClr val="accent1"/>
                </a:solidFill>
                <a:ea typeface="ＭＳ Ｐゴシック"/>
              </a:rPr>
              <a:t>86% of College Students Need Financial Aid</a:t>
            </a:r>
            <a:endParaRPr lang="en-US" dirty="0">
              <a:solidFill>
                <a:schemeClr val="accent1"/>
              </a:solidFill>
            </a:endParaRPr>
          </a:p>
        </p:txBody>
      </p:sp>
      <p:sp>
        <p:nvSpPr>
          <p:cNvPr id="11" name="TextBox 10">
            <a:extLst>
              <a:ext uri="{FF2B5EF4-FFF2-40B4-BE49-F238E27FC236}">
                <a16:creationId xmlns:a16="http://schemas.microsoft.com/office/drawing/2014/main" id="{CED02CE3-88E8-5513-543F-1DF9A03C1A1B}"/>
              </a:ext>
            </a:extLst>
          </p:cNvPr>
          <p:cNvSpPr txBox="1"/>
          <p:nvPr/>
        </p:nvSpPr>
        <p:spPr>
          <a:xfrm>
            <a:off x="6553168" y="1938075"/>
            <a:ext cx="2273448" cy="830997"/>
          </a:xfrm>
          <a:prstGeom prst="rect">
            <a:avLst/>
          </a:prstGeom>
          <a:noFill/>
        </p:spPr>
        <p:txBody>
          <a:bodyPr wrap="square" lIns="0" tIns="0" rIns="0" bIns="0" rtlCol="0" anchor="t" anchorCtr="0">
            <a:spAutoFit/>
          </a:bodyPr>
          <a:lstStyle/>
          <a:p>
            <a:pPr algn="ctr"/>
            <a:r>
              <a:rPr lang="en-US" b="1" kern="0" dirty="0">
                <a:solidFill>
                  <a:schemeClr val="accent1"/>
                </a:solidFill>
                <a:ea typeface="ＭＳ Ｐゴシック"/>
              </a:rPr>
              <a:t>$1 Million Additional Income From College</a:t>
            </a:r>
            <a:endParaRPr lang="en-US" dirty="0">
              <a:solidFill>
                <a:schemeClr val="accent1"/>
              </a:solidFill>
            </a:endParaRPr>
          </a:p>
        </p:txBody>
      </p:sp>
      <p:sp>
        <p:nvSpPr>
          <p:cNvPr id="13" name="TextBox 12">
            <a:extLst>
              <a:ext uri="{FF2B5EF4-FFF2-40B4-BE49-F238E27FC236}">
                <a16:creationId xmlns:a16="http://schemas.microsoft.com/office/drawing/2014/main" id="{9C577CA0-8A8B-AAE3-03B8-4CA2200FE786}"/>
              </a:ext>
            </a:extLst>
          </p:cNvPr>
          <p:cNvSpPr txBox="1"/>
          <p:nvPr/>
        </p:nvSpPr>
        <p:spPr>
          <a:xfrm>
            <a:off x="803980" y="3755168"/>
            <a:ext cx="2212848" cy="1046440"/>
          </a:xfrm>
          <a:prstGeom prst="rect">
            <a:avLst/>
          </a:prstGeom>
          <a:noFill/>
        </p:spPr>
        <p:txBody>
          <a:bodyPr wrap="square" lIns="0" tIns="0" rIns="0" bIns="0" rtlCol="0" anchor="t" anchorCtr="0">
            <a:spAutoFit/>
          </a:bodyPr>
          <a:lstStyle/>
          <a:p>
            <a:pPr algn="ctr"/>
            <a:r>
              <a:rPr lang="en-US" sz="1700" kern="0" dirty="0">
                <a:solidFill>
                  <a:schemeClr val="tx1">
                    <a:lumMod val="65000"/>
                    <a:lumOff val="35000"/>
                  </a:schemeClr>
                </a:solidFill>
                <a:ea typeface="ＭＳ Ｐゴシック"/>
              </a:rPr>
              <a:t>The average cost of college has more than doubled in the last 20 years</a:t>
            </a:r>
          </a:p>
        </p:txBody>
      </p:sp>
      <p:sp>
        <p:nvSpPr>
          <p:cNvPr id="14" name="TextBox 13">
            <a:extLst>
              <a:ext uri="{FF2B5EF4-FFF2-40B4-BE49-F238E27FC236}">
                <a16:creationId xmlns:a16="http://schemas.microsoft.com/office/drawing/2014/main" id="{F828D3DE-7E1C-C593-D734-1C4EB2639EE6}"/>
              </a:ext>
            </a:extLst>
          </p:cNvPr>
          <p:cNvSpPr txBox="1"/>
          <p:nvPr/>
        </p:nvSpPr>
        <p:spPr>
          <a:xfrm>
            <a:off x="3693724" y="3755168"/>
            <a:ext cx="2212848" cy="1046440"/>
          </a:xfrm>
          <a:prstGeom prst="rect">
            <a:avLst/>
          </a:prstGeom>
          <a:noFill/>
        </p:spPr>
        <p:txBody>
          <a:bodyPr wrap="square" lIns="0" tIns="0" rIns="0" bIns="0" rtlCol="0" anchor="t" anchorCtr="0">
            <a:spAutoFit/>
          </a:bodyPr>
          <a:lstStyle/>
          <a:p>
            <a:pPr algn="ctr"/>
            <a:r>
              <a:rPr lang="en-US" sz="1700" kern="0" dirty="0">
                <a:solidFill>
                  <a:schemeClr val="tx1">
                    <a:lumMod val="65000"/>
                    <a:lumOff val="35000"/>
                  </a:schemeClr>
                </a:solidFill>
                <a:ea typeface="ＭＳ Ｐゴシック"/>
              </a:rPr>
              <a:t>Average college debt per student is $38,000, up 2.5x in the last 10 years</a:t>
            </a:r>
          </a:p>
        </p:txBody>
      </p:sp>
      <p:sp>
        <p:nvSpPr>
          <p:cNvPr id="15" name="TextBox 14">
            <a:extLst>
              <a:ext uri="{FF2B5EF4-FFF2-40B4-BE49-F238E27FC236}">
                <a16:creationId xmlns:a16="http://schemas.microsoft.com/office/drawing/2014/main" id="{FACB8DB8-8479-45BA-B66C-DF6D582ED41E}"/>
              </a:ext>
            </a:extLst>
          </p:cNvPr>
          <p:cNvSpPr txBox="1"/>
          <p:nvPr/>
        </p:nvSpPr>
        <p:spPr>
          <a:xfrm>
            <a:off x="6502876" y="3755168"/>
            <a:ext cx="2374032" cy="1046440"/>
          </a:xfrm>
          <a:prstGeom prst="rect">
            <a:avLst/>
          </a:prstGeom>
          <a:noFill/>
        </p:spPr>
        <p:txBody>
          <a:bodyPr wrap="square" lIns="0" tIns="0" rIns="0" bIns="0" rtlCol="0" anchor="t" anchorCtr="0">
            <a:spAutoFit/>
          </a:bodyPr>
          <a:lstStyle/>
          <a:p>
            <a:pPr algn="ctr"/>
            <a:r>
              <a:rPr lang="en-US" sz="1700" kern="0" dirty="0">
                <a:solidFill>
                  <a:schemeClr val="tx1">
                    <a:lumMod val="65000"/>
                    <a:lumOff val="35000"/>
                  </a:schemeClr>
                </a:solidFill>
                <a:ea typeface="ＭＳ Ｐゴシック"/>
              </a:rPr>
              <a:t>Bachelor’s Degree graduates earn $1 million more than high school graduates</a:t>
            </a:r>
          </a:p>
        </p:txBody>
      </p:sp>
      <p:sp>
        <p:nvSpPr>
          <p:cNvPr id="16" name="TextBox 15">
            <a:extLst>
              <a:ext uri="{FF2B5EF4-FFF2-40B4-BE49-F238E27FC236}">
                <a16:creationId xmlns:a16="http://schemas.microsoft.com/office/drawing/2014/main" id="{EBA7D19D-F0F4-E829-4C39-E3DBEA35B667}"/>
              </a:ext>
            </a:extLst>
          </p:cNvPr>
          <p:cNvSpPr txBox="1"/>
          <p:nvPr/>
        </p:nvSpPr>
        <p:spPr>
          <a:xfrm>
            <a:off x="9466140" y="3755168"/>
            <a:ext cx="2212848" cy="1046440"/>
          </a:xfrm>
          <a:prstGeom prst="rect">
            <a:avLst/>
          </a:prstGeom>
          <a:noFill/>
        </p:spPr>
        <p:txBody>
          <a:bodyPr wrap="square" lIns="0" tIns="0" rIns="0" bIns="0" rtlCol="0" anchor="t" anchorCtr="0">
            <a:spAutoFit/>
          </a:bodyPr>
          <a:lstStyle/>
          <a:p>
            <a:pPr algn="ctr"/>
            <a:r>
              <a:rPr lang="en-US" sz="1700" kern="0" dirty="0">
                <a:solidFill>
                  <a:schemeClr val="tx1">
                    <a:lumMod val="65000"/>
                    <a:lumOff val="35000"/>
                  </a:schemeClr>
                </a:solidFill>
                <a:ea typeface="ＭＳ Ｐゴシック"/>
              </a:rPr>
              <a:t>80% of families say their #1 financial concern is the cost of a child’s education</a:t>
            </a:r>
          </a:p>
        </p:txBody>
      </p:sp>
      <p:sp>
        <p:nvSpPr>
          <p:cNvPr id="17" name="Rectangle 16">
            <a:extLst>
              <a:ext uri="{FF2B5EF4-FFF2-40B4-BE49-F238E27FC236}">
                <a16:creationId xmlns:a16="http://schemas.microsoft.com/office/drawing/2014/main" id="{243B67FC-F07F-5141-384F-1719B4CB3AD8}"/>
              </a:ext>
            </a:extLst>
          </p:cNvPr>
          <p:cNvSpPr/>
          <p:nvPr/>
        </p:nvSpPr>
        <p:spPr>
          <a:xfrm>
            <a:off x="642796" y="2840294"/>
            <a:ext cx="2535217" cy="7268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D873DAE4-2FE9-1725-6E1F-EE67F7E07C4C}"/>
              </a:ext>
            </a:extLst>
          </p:cNvPr>
          <p:cNvSpPr/>
          <p:nvPr/>
        </p:nvSpPr>
        <p:spPr>
          <a:xfrm>
            <a:off x="3532540" y="2840294"/>
            <a:ext cx="2535217" cy="7268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414383EC-3CA5-F3DD-6CA5-2FC37F4B8838}"/>
              </a:ext>
            </a:extLst>
          </p:cNvPr>
          <p:cNvSpPr/>
          <p:nvPr/>
        </p:nvSpPr>
        <p:spPr>
          <a:xfrm>
            <a:off x="6422284" y="2840294"/>
            <a:ext cx="2535217" cy="7268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E9E7FD27-88C5-0594-37F6-C9CA89E4B37D}"/>
              </a:ext>
            </a:extLst>
          </p:cNvPr>
          <p:cNvSpPr/>
          <p:nvPr/>
        </p:nvSpPr>
        <p:spPr>
          <a:xfrm>
            <a:off x="9304956" y="2840294"/>
            <a:ext cx="2535217" cy="7268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1" name="Graphic 20">
            <a:extLst>
              <a:ext uri="{FF2B5EF4-FFF2-40B4-BE49-F238E27FC236}">
                <a16:creationId xmlns:a16="http://schemas.microsoft.com/office/drawing/2014/main" id="{2F1957D9-38DB-77A5-2BE0-54A814C9E96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17134" y="2904689"/>
            <a:ext cx="586540" cy="586540"/>
          </a:xfrm>
          <a:prstGeom prst="rect">
            <a:avLst/>
          </a:prstGeom>
        </p:spPr>
      </p:pic>
      <p:pic>
        <p:nvPicPr>
          <p:cNvPr id="22" name="Graphic 21">
            <a:extLst>
              <a:ext uri="{FF2B5EF4-FFF2-40B4-BE49-F238E27FC236}">
                <a16:creationId xmlns:a16="http://schemas.microsoft.com/office/drawing/2014/main" id="{98B62F7F-4A47-30D2-4DD9-89CF83D4508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396622" y="2904689"/>
            <a:ext cx="586540" cy="586540"/>
          </a:xfrm>
          <a:prstGeom prst="rect">
            <a:avLst/>
          </a:prstGeom>
        </p:spPr>
      </p:pic>
      <p:pic>
        <p:nvPicPr>
          <p:cNvPr id="23" name="Graphic 22" descr="Loan outline">
            <a:extLst>
              <a:ext uri="{FF2B5EF4-FFF2-40B4-BE49-F238E27FC236}">
                <a16:creationId xmlns:a16="http://schemas.microsoft.com/office/drawing/2014/main" id="{904D67C2-DE45-2371-1609-8111481C18F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4506878" y="2904689"/>
            <a:ext cx="586540" cy="586540"/>
          </a:xfrm>
          <a:prstGeom prst="rect">
            <a:avLst/>
          </a:prstGeom>
        </p:spPr>
      </p:pic>
      <p:pic>
        <p:nvPicPr>
          <p:cNvPr id="24" name="Graphic 23" descr="Woman with kid outline">
            <a:extLst>
              <a:ext uri="{FF2B5EF4-FFF2-40B4-BE49-F238E27FC236}">
                <a16:creationId xmlns:a16="http://schemas.microsoft.com/office/drawing/2014/main" id="{B6399E4E-DFE2-EC75-4BF1-D9D7C355011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10269150" y="2877919"/>
            <a:ext cx="640080" cy="640080"/>
          </a:xfrm>
          <a:prstGeom prst="rect">
            <a:avLst/>
          </a:prstGeom>
        </p:spPr>
      </p:pic>
      <p:sp>
        <p:nvSpPr>
          <p:cNvPr id="27" name="Content Placeholder 7">
            <a:extLst>
              <a:ext uri="{FF2B5EF4-FFF2-40B4-BE49-F238E27FC236}">
                <a16:creationId xmlns:a16="http://schemas.microsoft.com/office/drawing/2014/main" id="{B665A35D-C816-EC72-C42E-9B90C05BB7F5}"/>
              </a:ext>
            </a:extLst>
          </p:cNvPr>
          <p:cNvSpPr txBox="1">
            <a:spLocks/>
          </p:cNvSpPr>
          <p:nvPr/>
        </p:nvSpPr>
        <p:spPr>
          <a:xfrm>
            <a:off x="642796" y="1215155"/>
            <a:ext cx="11197377" cy="618937"/>
          </a:xfrm>
          <a:prstGeom prst="rect">
            <a:avLst/>
          </a:prstGeom>
          <a:noFill/>
        </p:spPr>
        <p:txBody>
          <a:bodyPr vert="horz" lIns="0" tIns="0" rIns="0" bIns="0" rtlCol="0">
            <a:noAutofit/>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mn-lt"/>
                <a:ea typeface="+mn-ea"/>
                <a:cs typeface="+mn-cs"/>
              </a:defRPr>
            </a:lvl2pPr>
            <a:lvl3pPr marL="457200" indent="-228600" algn="l" defTabSz="914400" rtl="0" eaLnBrk="1" latinLnBrk="0" hangingPunct="1">
              <a:lnSpc>
                <a:spcPct val="100000"/>
              </a:lnSpc>
              <a:spcBef>
                <a:spcPts val="500"/>
              </a:spcBef>
              <a:buFont typeface="Public Sans" pitchFamily="2" charset="0"/>
              <a:buChar char="–"/>
              <a:defRPr sz="1800" kern="1200">
                <a:solidFill>
                  <a:schemeClr val="tx1"/>
                </a:solidFill>
                <a:latin typeface="+mn-lt"/>
                <a:ea typeface="+mn-ea"/>
                <a:cs typeface="+mn-cs"/>
              </a:defRPr>
            </a:lvl3pPr>
            <a:lvl4pPr marL="6858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mn-lt"/>
                <a:ea typeface="+mn-ea"/>
                <a:cs typeface="+mn-cs"/>
              </a:defRPr>
            </a:lvl4pPr>
            <a:lvl5pPr marL="914400" indent="-228600" algn="l" defTabSz="914400" rtl="0" eaLnBrk="1" latinLnBrk="0" hangingPunct="1">
              <a:lnSpc>
                <a:spcPct val="100000"/>
              </a:lnSpc>
              <a:spcBef>
                <a:spcPts val="500"/>
              </a:spcBef>
              <a:buFont typeface="Public Sans" pitchFamily="2"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200"/>
              </a:spcBef>
            </a:pPr>
            <a:r>
              <a:rPr lang="en-US" b="1" dirty="0"/>
              <a:t>College Tuition Benefit reduces financial stress and improves the affordability of higher education</a:t>
            </a:r>
          </a:p>
        </p:txBody>
      </p:sp>
      <p:sp>
        <p:nvSpPr>
          <p:cNvPr id="29" name="TextBox 28">
            <a:extLst>
              <a:ext uri="{FF2B5EF4-FFF2-40B4-BE49-F238E27FC236}">
                <a16:creationId xmlns:a16="http://schemas.microsoft.com/office/drawing/2014/main" id="{C307CFDB-7E9D-F537-5C77-587C61D2CE6E}"/>
              </a:ext>
            </a:extLst>
          </p:cNvPr>
          <p:cNvSpPr txBox="1"/>
          <p:nvPr/>
        </p:nvSpPr>
        <p:spPr>
          <a:xfrm>
            <a:off x="9435840" y="1938075"/>
            <a:ext cx="2273448" cy="830997"/>
          </a:xfrm>
          <a:prstGeom prst="rect">
            <a:avLst/>
          </a:prstGeom>
          <a:noFill/>
        </p:spPr>
        <p:txBody>
          <a:bodyPr wrap="square" lIns="0" tIns="0" rIns="0" bIns="0" rtlCol="0" anchor="t" anchorCtr="0">
            <a:spAutoFit/>
          </a:bodyPr>
          <a:lstStyle/>
          <a:p>
            <a:pPr algn="ctr"/>
            <a:r>
              <a:rPr lang="en-US" b="1" kern="0" dirty="0">
                <a:solidFill>
                  <a:schemeClr val="accent1"/>
                </a:solidFill>
                <a:ea typeface="ＭＳ Ｐゴシック"/>
              </a:rPr>
              <a:t>#1 Family Financial Focus Is Child’s Education</a:t>
            </a:r>
            <a:endParaRPr lang="en-US" dirty="0">
              <a:solidFill>
                <a:schemeClr val="accent1"/>
              </a:solidFill>
            </a:endParaRPr>
          </a:p>
        </p:txBody>
      </p:sp>
      <p:pic>
        <p:nvPicPr>
          <p:cNvPr id="12" name="Picture 11">
            <a:extLst>
              <a:ext uri="{FF2B5EF4-FFF2-40B4-BE49-F238E27FC236}">
                <a16:creationId xmlns:a16="http://schemas.microsoft.com/office/drawing/2014/main" id="{EE573AC6-2DDD-DAB9-92AC-DCFEBDE8F382}"/>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9740283" y="5937504"/>
            <a:ext cx="1808921" cy="748941"/>
          </a:xfrm>
          <a:prstGeom prst="rect">
            <a:avLst/>
          </a:prstGeom>
        </p:spPr>
      </p:pic>
    </p:spTree>
    <p:extLst>
      <p:ext uri="{BB962C8B-B14F-4D97-AF65-F5344CB8AC3E}">
        <p14:creationId xmlns:p14="http://schemas.microsoft.com/office/powerpoint/2010/main" val="18080401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2FEADA7-C601-76EE-A6E9-1B6AAA2E2D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9" name="Object 8" hidden="1">
                        <a:extLst>
                          <a:ext uri="{FF2B5EF4-FFF2-40B4-BE49-F238E27FC236}">
                            <a16:creationId xmlns:a16="http://schemas.microsoft.com/office/drawing/2014/main" id="{52FEADA7-C601-76EE-A6E9-1B6AAA2E2D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9DE0F82E-5A80-C43E-E096-8BA514F178DC}"/>
              </a:ext>
            </a:extLst>
          </p:cNvPr>
          <p:cNvSpPr>
            <a:spLocks noGrp="1"/>
          </p:cNvSpPr>
          <p:nvPr>
            <p:ph type="title"/>
          </p:nvPr>
        </p:nvSpPr>
        <p:spPr>
          <a:xfrm>
            <a:off x="642796" y="332770"/>
            <a:ext cx="8174033" cy="461665"/>
          </a:xfrm>
        </p:spPr>
        <p:txBody>
          <a:bodyPr vert="horz"/>
          <a:lstStyle/>
          <a:p>
            <a:r>
              <a:rPr lang="en-US" sz="3000" dirty="0"/>
              <a:t>How the Tuition Rewards Program Works</a:t>
            </a:r>
            <a:endParaRPr lang="en-GB" sz="3000" dirty="0"/>
          </a:p>
        </p:txBody>
      </p:sp>
      <p:sp>
        <p:nvSpPr>
          <p:cNvPr id="8" name="Content Placeholder 7">
            <a:extLst>
              <a:ext uri="{FF2B5EF4-FFF2-40B4-BE49-F238E27FC236}">
                <a16:creationId xmlns:a16="http://schemas.microsoft.com/office/drawing/2014/main" id="{33155A35-528D-EA71-7201-4E9925B1807B}"/>
              </a:ext>
            </a:extLst>
          </p:cNvPr>
          <p:cNvSpPr>
            <a:spLocks noGrp="1"/>
          </p:cNvSpPr>
          <p:nvPr>
            <p:ph idx="1"/>
          </p:nvPr>
        </p:nvSpPr>
        <p:spPr>
          <a:xfrm>
            <a:off x="647700" y="876300"/>
            <a:ext cx="7572375" cy="5467349"/>
          </a:xfrm>
        </p:spPr>
        <p:txBody>
          <a:bodyPr/>
          <a:lstStyle/>
          <a:p>
            <a:pPr>
              <a:spcBef>
                <a:spcPts val="1200"/>
              </a:spcBef>
            </a:pPr>
            <a:r>
              <a:rPr lang="en-US" sz="1600" b="1" dirty="0"/>
              <a:t>Formed in 1995, our Tuition Rewards program provides tuition discounts to millions of clients and employees of our partners</a:t>
            </a:r>
          </a:p>
          <a:p>
            <a:pPr lvl="1">
              <a:spcBef>
                <a:spcPts val="1200"/>
              </a:spcBef>
            </a:pPr>
            <a:r>
              <a:rPr lang="en-US" sz="1600" dirty="0"/>
              <a:t>Like frequent-flyer miles, Tuition Rewards are earned by your clients in a variety of ways including new products, retention, managed assets, etc. </a:t>
            </a:r>
          </a:p>
          <a:p>
            <a:pPr lvl="1">
              <a:spcBef>
                <a:spcPts val="1200"/>
              </a:spcBef>
            </a:pPr>
            <a:r>
              <a:rPr lang="en-US" sz="1600" b="1" dirty="0"/>
              <a:t>1 Tuition Reward = $1 in tuition reduction at over 460 colleges &amp; universities in the network</a:t>
            </a:r>
          </a:p>
          <a:p>
            <a:pPr lvl="1">
              <a:spcBef>
                <a:spcPts val="1200"/>
              </a:spcBef>
            </a:pPr>
            <a:r>
              <a:rPr lang="en-US" sz="1600" dirty="0"/>
              <a:t>Tuition Rewards can be redeemed by clients for their children, step-children, nieces, nephews, grandchildren or other family members</a:t>
            </a:r>
          </a:p>
          <a:p>
            <a:pPr lvl="1">
              <a:spcBef>
                <a:spcPts val="1200"/>
              </a:spcBef>
            </a:pPr>
            <a:r>
              <a:rPr lang="en-US" sz="1600" dirty="0"/>
              <a:t>Rewards can be redeemed for up to 1 year of college tuition per student (spread over 4 years), which could result in over $60,000 in tuition savings</a:t>
            </a:r>
          </a:p>
          <a:p>
            <a:pPr lvl="1">
              <a:spcBef>
                <a:spcPts val="1200"/>
              </a:spcBef>
            </a:pPr>
            <a:r>
              <a:rPr lang="en-US" sz="1600" dirty="0"/>
              <a:t>Tuition Rewards are not taxable</a:t>
            </a:r>
          </a:p>
          <a:p>
            <a:pPr lvl="1">
              <a:spcBef>
                <a:spcPts val="1200"/>
              </a:spcBef>
            </a:pPr>
            <a:r>
              <a:rPr lang="en-US" sz="1600" dirty="0"/>
              <a:t>Included in the financial wellness platform: Ready Set College (college planning), FastTrak (pre-admission approval), etc.</a:t>
            </a:r>
          </a:p>
          <a:p>
            <a:pPr lvl="1">
              <a:spcBef>
                <a:spcPts val="1200"/>
              </a:spcBef>
            </a:pPr>
            <a:r>
              <a:rPr lang="en-US" sz="1600" b="1" dirty="0"/>
              <a:t>Key Stats</a:t>
            </a:r>
          </a:p>
          <a:p>
            <a:pPr lvl="2">
              <a:spcBef>
                <a:spcPts val="600"/>
              </a:spcBef>
            </a:pPr>
            <a:r>
              <a:rPr lang="en-US" sz="1600" dirty="0"/>
              <a:t>Over 15 million clients are earning Tuition Rewards</a:t>
            </a:r>
          </a:p>
          <a:p>
            <a:pPr lvl="2">
              <a:spcBef>
                <a:spcPts val="600"/>
              </a:spcBef>
            </a:pPr>
            <a:r>
              <a:rPr lang="en-US" sz="1600" dirty="0"/>
              <a:t>Over 20 million students are in the program</a:t>
            </a:r>
          </a:p>
          <a:p>
            <a:pPr lvl="2">
              <a:spcBef>
                <a:spcPts val="600"/>
              </a:spcBef>
            </a:pPr>
            <a:r>
              <a:rPr lang="en-US" sz="1600" b="1" dirty="0"/>
              <a:t>$100 million in tuition discounts were redeemed last year</a:t>
            </a:r>
          </a:p>
        </p:txBody>
      </p:sp>
      <p:sp>
        <p:nvSpPr>
          <p:cNvPr id="5" name="Slide Number Placeholder 4">
            <a:extLst>
              <a:ext uri="{FF2B5EF4-FFF2-40B4-BE49-F238E27FC236}">
                <a16:creationId xmlns:a16="http://schemas.microsoft.com/office/drawing/2014/main" id="{6CCAE531-7E22-92D4-03DD-60874974DF67}"/>
              </a:ext>
            </a:extLst>
          </p:cNvPr>
          <p:cNvSpPr>
            <a:spLocks noGrp="1"/>
          </p:cNvSpPr>
          <p:nvPr>
            <p:ph type="sldNum" sz="quarter" idx="12"/>
          </p:nvPr>
        </p:nvSpPr>
        <p:spPr/>
        <p:txBody>
          <a:bodyPr/>
          <a:lstStyle/>
          <a:p>
            <a:fld id="{81BB80E6-A275-47B1-83C7-F87E1B6AA4DD}" type="slidenum">
              <a:rPr lang="en-GB" smtClean="0"/>
              <a:t>4</a:t>
            </a:fld>
            <a:endParaRPr lang="en-GB" dirty="0"/>
          </a:p>
        </p:txBody>
      </p:sp>
      <p:pic>
        <p:nvPicPr>
          <p:cNvPr id="6" name="Picture Placeholder 5" descr="A group of people posing for a photo&#10;&#10;Description automatically generated with medium confidence">
            <a:extLst>
              <a:ext uri="{FF2B5EF4-FFF2-40B4-BE49-F238E27FC236}">
                <a16:creationId xmlns:a16="http://schemas.microsoft.com/office/drawing/2014/main" id="{7E132809-09CF-45DC-5F84-9555EF87651C}"/>
              </a:ext>
            </a:extLst>
          </p:cNvPr>
          <p:cNvPicPr>
            <a:picLocks noGrp="1" noChangeAspect="1"/>
          </p:cNvPicPr>
          <p:nvPr>
            <p:ph type="pic" sz="quarter" idx="13"/>
          </p:nvPr>
        </p:nvPicPr>
        <p:blipFill rotWithShape="1">
          <a:blip r:embed="rId5">
            <a:extLst>
              <a:ext uri="{28A0092B-C50C-407E-A947-70E740481C1C}">
                <a14:useLocalDpi xmlns:a14="http://schemas.microsoft.com/office/drawing/2010/main" val="0"/>
              </a:ext>
            </a:extLst>
          </a:blip>
          <a:srcRect l="19869" r="40581"/>
          <a:stretch/>
        </p:blipFill>
        <p:spPr>
          <a:xfrm>
            <a:off x="8505825" y="0"/>
            <a:ext cx="3686175" cy="6219825"/>
          </a:xfrm>
        </p:spPr>
      </p:pic>
      <p:pic>
        <p:nvPicPr>
          <p:cNvPr id="3" name="Picture 2">
            <a:extLst>
              <a:ext uri="{FF2B5EF4-FFF2-40B4-BE49-F238E27FC236}">
                <a16:creationId xmlns:a16="http://schemas.microsoft.com/office/drawing/2014/main" id="{35CE68C5-0ED5-1AC8-25FA-3D9652098C24}"/>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10242975" y="6267729"/>
            <a:ext cx="1138352" cy="471308"/>
          </a:xfrm>
          <a:prstGeom prst="rect">
            <a:avLst/>
          </a:prstGeom>
        </p:spPr>
      </p:pic>
    </p:spTree>
    <p:extLst>
      <p:ext uri="{BB962C8B-B14F-4D97-AF65-F5344CB8AC3E}">
        <p14:creationId xmlns:p14="http://schemas.microsoft.com/office/powerpoint/2010/main" val="6610586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C942CA-8D33-579C-8C42-7F4EA1689A5A}"/>
              </a:ext>
            </a:extLst>
          </p:cNvPr>
          <p:cNvSpPr>
            <a:spLocks noGrp="1"/>
          </p:cNvSpPr>
          <p:nvPr>
            <p:ph type="title"/>
          </p:nvPr>
        </p:nvSpPr>
        <p:spPr>
          <a:xfrm>
            <a:off x="838199" y="291090"/>
            <a:ext cx="10515599" cy="932688"/>
          </a:xfrm>
        </p:spPr>
        <p:txBody>
          <a:bodyPr vert="horz" lIns="91440" tIns="45720" rIns="91440" bIns="45720" rtlCol="0" anchor="b">
            <a:normAutofit fontScale="90000"/>
          </a:bodyPr>
          <a:lstStyle/>
          <a:p>
            <a:pPr>
              <a:lnSpc>
                <a:spcPct val="90000"/>
              </a:lnSpc>
            </a:pPr>
            <a:r>
              <a:rPr lang="en-US" sz="3200" b="1" kern="1200" dirty="0">
                <a:solidFill>
                  <a:schemeClr val="tx1"/>
                </a:solidFill>
                <a:latin typeface="+mn-lt"/>
                <a:ea typeface="+mn-ea"/>
                <a:cs typeface="+mn-cs"/>
              </a:rPr>
              <a:t>Clients can earn Tuition Rewards in a variety of ways</a:t>
            </a:r>
            <a:br>
              <a:rPr lang="en-US" sz="3200" b="1" kern="1200" dirty="0">
                <a:solidFill>
                  <a:schemeClr val="tx1"/>
                </a:solidFill>
                <a:latin typeface="+mn-lt"/>
                <a:ea typeface="+mn-ea"/>
                <a:cs typeface="+mn-cs"/>
              </a:rPr>
            </a:br>
            <a:endParaRPr lang="en-US" sz="3000" kern="1200" dirty="0">
              <a:solidFill>
                <a:schemeClr val="tx1"/>
              </a:solidFill>
              <a:latin typeface="+mj-lt"/>
              <a:ea typeface="+mj-ea"/>
              <a:cs typeface="+mj-cs"/>
            </a:endParaRPr>
          </a:p>
        </p:txBody>
      </p:sp>
      <p:pic>
        <p:nvPicPr>
          <p:cNvPr id="7" name="Picture 6">
            <a:extLst>
              <a:ext uri="{FF2B5EF4-FFF2-40B4-BE49-F238E27FC236}">
                <a16:creationId xmlns:a16="http://schemas.microsoft.com/office/drawing/2014/main" id="{9D25532D-044E-DE25-4939-A5EECEFF8330}"/>
              </a:ext>
            </a:extLst>
          </p:cNvPr>
          <p:cNvPicPr>
            <a:picLocks noChangeAspect="1"/>
          </p:cNvPicPr>
          <p:nvPr/>
        </p:nvPicPr>
        <p:blipFill>
          <a:blip r:embed="rId2"/>
          <a:stretch>
            <a:fillRect/>
          </a:stretch>
        </p:blipFill>
        <p:spPr>
          <a:xfrm>
            <a:off x="2394477" y="1208627"/>
            <a:ext cx="7403041" cy="4440746"/>
          </a:xfrm>
          <a:prstGeom prst="rect">
            <a:avLst/>
          </a:prstGeom>
        </p:spPr>
      </p:pic>
      <p:sp>
        <p:nvSpPr>
          <p:cNvPr id="4" name="Slide Number Placeholder 3">
            <a:extLst>
              <a:ext uri="{FF2B5EF4-FFF2-40B4-BE49-F238E27FC236}">
                <a16:creationId xmlns:a16="http://schemas.microsoft.com/office/drawing/2014/main" id="{05ED7D61-1ECF-4B46-E29C-9606D2F779D3}"/>
              </a:ext>
            </a:extLst>
          </p:cNvPr>
          <p:cNvSpPr>
            <a:spLocks noGrp="1"/>
          </p:cNvSpPr>
          <p:nvPr>
            <p:ph type="sldNum" sz="quarter" idx="12"/>
          </p:nvPr>
        </p:nvSpPr>
        <p:spPr>
          <a:xfrm>
            <a:off x="9112046" y="6357331"/>
            <a:ext cx="2743200" cy="365125"/>
          </a:xfrm>
        </p:spPr>
        <p:txBody>
          <a:bodyPr vert="horz" lIns="91440" tIns="45720" rIns="91440" bIns="45720" rtlCol="0" anchor="ctr">
            <a:normAutofit/>
          </a:bodyPr>
          <a:lstStyle/>
          <a:p>
            <a:pPr>
              <a:spcAft>
                <a:spcPts val="600"/>
              </a:spcAft>
            </a:pPr>
            <a:r>
              <a:rPr lang="en-US" sz="1200" dirty="0"/>
              <a:t>		</a:t>
            </a:r>
            <a:fld id="{81BB80E6-A275-47B1-83C7-F87E1B6AA4DD}" type="slidenum">
              <a:rPr lang="en-US" sz="900" smtClean="0"/>
              <a:pPr>
                <a:spcAft>
                  <a:spcPts val="600"/>
                </a:spcAft>
              </a:pPr>
              <a:t>5</a:t>
            </a:fld>
            <a:endParaRPr lang="en-US" sz="900" dirty="0"/>
          </a:p>
        </p:txBody>
      </p:sp>
      <p:pic>
        <p:nvPicPr>
          <p:cNvPr id="3" name="Picture 2">
            <a:extLst>
              <a:ext uri="{FF2B5EF4-FFF2-40B4-BE49-F238E27FC236}">
                <a16:creationId xmlns:a16="http://schemas.microsoft.com/office/drawing/2014/main" id="{E20A54B8-7157-23CC-164D-8BFBC8CD1C6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740283" y="5937504"/>
            <a:ext cx="1808921" cy="748941"/>
          </a:xfrm>
          <a:prstGeom prst="rect">
            <a:avLst/>
          </a:prstGeom>
        </p:spPr>
      </p:pic>
    </p:spTree>
    <p:extLst>
      <p:ext uri="{BB962C8B-B14F-4D97-AF65-F5344CB8AC3E}">
        <p14:creationId xmlns:p14="http://schemas.microsoft.com/office/powerpoint/2010/main" val="14289758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C942CA-8D33-579C-8C42-7F4EA1689A5A}"/>
              </a:ext>
            </a:extLst>
          </p:cNvPr>
          <p:cNvSpPr>
            <a:spLocks noGrp="1"/>
          </p:cNvSpPr>
          <p:nvPr>
            <p:ph type="title"/>
          </p:nvPr>
        </p:nvSpPr>
        <p:spPr/>
        <p:txBody>
          <a:bodyPr/>
          <a:lstStyle/>
          <a:p>
            <a:r>
              <a:rPr lang="en-US" dirty="0"/>
              <a:t>Bringing Colleges &amp; Students Together</a:t>
            </a:r>
          </a:p>
        </p:txBody>
      </p:sp>
      <p:sp>
        <p:nvSpPr>
          <p:cNvPr id="4" name="Slide Number Placeholder 3">
            <a:extLst>
              <a:ext uri="{FF2B5EF4-FFF2-40B4-BE49-F238E27FC236}">
                <a16:creationId xmlns:a16="http://schemas.microsoft.com/office/drawing/2014/main" id="{05ED7D61-1ECF-4B46-E29C-9606D2F779D3}"/>
              </a:ext>
            </a:extLst>
          </p:cNvPr>
          <p:cNvSpPr>
            <a:spLocks noGrp="1"/>
          </p:cNvSpPr>
          <p:nvPr>
            <p:ph type="sldNum" sz="quarter" idx="12"/>
          </p:nvPr>
        </p:nvSpPr>
        <p:spPr/>
        <p:txBody>
          <a:bodyPr/>
          <a:lstStyle/>
          <a:p>
            <a:fld id="{81BB80E6-A275-47B1-83C7-F87E1B6AA4DD}" type="slidenum">
              <a:rPr lang="en-GB" smtClean="0"/>
              <a:t>6</a:t>
            </a:fld>
            <a:endParaRPr lang="en-GB" dirty="0"/>
          </a:p>
        </p:txBody>
      </p:sp>
      <p:sp>
        <p:nvSpPr>
          <p:cNvPr id="6" name="TextBox 5">
            <a:extLst>
              <a:ext uri="{FF2B5EF4-FFF2-40B4-BE49-F238E27FC236}">
                <a16:creationId xmlns:a16="http://schemas.microsoft.com/office/drawing/2014/main" id="{0409087B-7C6A-A1F3-C8F6-1EAFE959BFB7}"/>
              </a:ext>
            </a:extLst>
          </p:cNvPr>
          <p:cNvSpPr txBox="1"/>
          <p:nvPr/>
        </p:nvSpPr>
        <p:spPr>
          <a:xfrm>
            <a:off x="321488" y="1143439"/>
            <a:ext cx="11565712" cy="369332"/>
          </a:xfrm>
          <a:prstGeom prst="rect">
            <a:avLst/>
          </a:prstGeom>
          <a:noFill/>
          <a:ln>
            <a:noFill/>
          </a:ln>
        </p:spPr>
        <p:txBody>
          <a:bodyPr wrap="square" rtlCol="0">
            <a:spAutoFit/>
          </a:bodyPr>
          <a:lstStyle/>
          <a:p>
            <a:pPr algn="ctr"/>
            <a:r>
              <a:rPr lang="en-US" dirty="0">
                <a:latin typeface="Open Sans" panose="020B0606030504020204" pitchFamily="34" charset="0"/>
                <a:ea typeface="Open Sans" panose="020B0606030504020204" pitchFamily="34" charset="0"/>
                <a:cs typeface="Open Sans" panose="020B0606030504020204" pitchFamily="34" charset="0"/>
              </a:rPr>
              <a:t>Our network includes over </a:t>
            </a:r>
            <a:r>
              <a:rPr lang="en-US" b="1" dirty="0">
                <a:solidFill>
                  <a:srgbClr val="336699"/>
                </a:solidFill>
                <a:latin typeface="Open Sans" panose="020B0606030504020204" pitchFamily="34" charset="0"/>
                <a:ea typeface="Open Sans" panose="020B0606030504020204" pitchFamily="34" charset="0"/>
                <a:cs typeface="Open Sans" panose="020B0606030504020204" pitchFamily="34" charset="0"/>
              </a:rPr>
              <a:t>450</a:t>
            </a:r>
            <a:r>
              <a:rPr lang="en-US"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a:t>
            </a:r>
            <a:r>
              <a:rPr lang="en-US" dirty="0">
                <a:latin typeface="Open Sans" panose="020B0606030504020204" pitchFamily="34" charset="0"/>
                <a:ea typeface="Open Sans" panose="020B0606030504020204" pitchFamily="34" charset="0"/>
                <a:cs typeface="Open Sans" panose="020B0606030504020204" pitchFamily="34" charset="0"/>
              </a:rPr>
              <a:t>Member Colleges &amp; Universities in the U.S. and Ireland</a:t>
            </a:r>
          </a:p>
        </p:txBody>
      </p:sp>
      <p:cxnSp>
        <p:nvCxnSpPr>
          <p:cNvPr id="7" name="Straight Connector 6">
            <a:extLst>
              <a:ext uri="{FF2B5EF4-FFF2-40B4-BE49-F238E27FC236}">
                <a16:creationId xmlns:a16="http://schemas.microsoft.com/office/drawing/2014/main" id="{17818F2F-1416-17A6-4E81-A8FB6F5680D9}"/>
              </a:ext>
            </a:extLst>
          </p:cNvPr>
          <p:cNvCxnSpPr>
            <a:cxnSpLocks/>
          </p:cNvCxnSpPr>
          <p:nvPr/>
        </p:nvCxnSpPr>
        <p:spPr>
          <a:xfrm>
            <a:off x="572224" y="1103230"/>
            <a:ext cx="11064240" cy="0"/>
          </a:xfrm>
          <a:prstGeom prst="line">
            <a:avLst/>
          </a:prstGeom>
          <a:ln w="28575">
            <a:solidFill>
              <a:srgbClr val="F8C663"/>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BDC5D0A4-41E5-163D-8152-7A8F5460399D}"/>
              </a:ext>
            </a:extLst>
          </p:cNvPr>
          <p:cNvCxnSpPr>
            <a:cxnSpLocks/>
          </p:cNvCxnSpPr>
          <p:nvPr/>
        </p:nvCxnSpPr>
        <p:spPr>
          <a:xfrm>
            <a:off x="572224" y="1533921"/>
            <a:ext cx="11064240" cy="0"/>
          </a:xfrm>
          <a:prstGeom prst="line">
            <a:avLst/>
          </a:prstGeom>
          <a:ln w="28575">
            <a:solidFill>
              <a:srgbClr val="F8C663"/>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06F03F02-5218-B5B2-1961-638DE519AEDD}"/>
              </a:ext>
            </a:extLst>
          </p:cNvPr>
          <p:cNvSpPr txBox="1"/>
          <p:nvPr/>
        </p:nvSpPr>
        <p:spPr>
          <a:xfrm>
            <a:off x="337069" y="5638425"/>
            <a:ext cx="11565712" cy="338554"/>
          </a:xfrm>
          <a:prstGeom prst="rect">
            <a:avLst/>
          </a:prstGeom>
          <a:noFill/>
          <a:ln>
            <a:noFill/>
          </a:ln>
        </p:spPr>
        <p:txBody>
          <a:bodyPr wrap="square" rtlCol="0">
            <a:spAutoFit/>
          </a:bodyPr>
          <a:lstStyle/>
          <a:p>
            <a:pPr algn="ctr"/>
            <a:r>
              <a:rPr lang="en-US" sz="1600" b="1" dirty="0">
                <a:solidFill>
                  <a:srgbClr val="2F6397"/>
                </a:solidFill>
                <a:latin typeface="Open Sans" panose="020B0606030504020204" pitchFamily="34" charset="0"/>
                <a:ea typeface="Open Sans" panose="020B0606030504020204" pitchFamily="34" charset="0"/>
                <a:cs typeface="Open Sans" panose="020B0606030504020204" pitchFamily="34" charset="0"/>
              </a:rPr>
              <a:t>90%</a:t>
            </a:r>
            <a:r>
              <a:rPr lang="en-US" sz="1600" dirty="0">
                <a:solidFill>
                  <a:srgbClr val="2F6397"/>
                </a:solidFill>
                <a:latin typeface="Open Sans" panose="020B0606030504020204" pitchFamily="34" charset="0"/>
                <a:ea typeface="Open Sans" panose="020B0606030504020204" pitchFamily="34" charset="0"/>
                <a:cs typeface="Open Sans" panose="020B0606030504020204" pitchFamily="34" charset="0"/>
              </a:rPr>
              <a:t> </a:t>
            </a:r>
            <a:r>
              <a:rPr lang="en-US" sz="1600" dirty="0">
                <a:latin typeface="Open Sans" panose="020B0606030504020204" pitchFamily="34" charset="0"/>
                <a:ea typeface="Open Sans" panose="020B0606030504020204" pitchFamily="34" charset="0"/>
                <a:cs typeface="Open Sans" panose="020B0606030504020204" pitchFamily="34" charset="0"/>
              </a:rPr>
              <a:t>of member colleges &amp; universities have received an “America’s Best” ranking by U.S. News and World Report</a:t>
            </a:r>
          </a:p>
        </p:txBody>
      </p:sp>
      <p:cxnSp>
        <p:nvCxnSpPr>
          <p:cNvPr id="35" name="Straight Connector 34">
            <a:extLst>
              <a:ext uri="{FF2B5EF4-FFF2-40B4-BE49-F238E27FC236}">
                <a16:creationId xmlns:a16="http://schemas.microsoft.com/office/drawing/2014/main" id="{50872DDC-05A6-15FB-503C-EC24DF26C504}"/>
              </a:ext>
            </a:extLst>
          </p:cNvPr>
          <p:cNvCxnSpPr>
            <a:cxnSpLocks/>
          </p:cNvCxnSpPr>
          <p:nvPr/>
        </p:nvCxnSpPr>
        <p:spPr>
          <a:xfrm>
            <a:off x="587805" y="5598216"/>
            <a:ext cx="11064240" cy="0"/>
          </a:xfrm>
          <a:prstGeom prst="line">
            <a:avLst/>
          </a:prstGeom>
          <a:ln w="28575">
            <a:solidFill>
              <a:srgbClr val="F8C663"/>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90D8F08-1ED9-B1CC-FBF5-553FF043D8E0}"/>
              </a:ext>
            </a:extLst>
          </p:cNvPr>
          <p:cNvCxnSpPr>
            <a:cxnSpLocks/>
          </p:cNvCxnSpPr>
          <p:nvPr/>
        </p:nvCxnSpPr>
        <p:spPr>
          <a:xfrm>
            <a:off x="587805" y="6028907"/>
            <a:ext cx="11064240" cy="0"/>
          </a:xfrm>
          <a:prstGeom prst="line">
            <a:avLst/>
          </a:prstGeom>
          <a:ln w="28575">
            <a:solidFill>
              <a:srgbClr val="F8C663"/>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3BF44D32-A3B6-3B2B-5CD9-42709AAA0300}"/>
              </a:ext>
            </a:extLst>
          </p:cNvPr>
          <p:cNvSpPr txBox="1"/>
          <p:nvPr/>
        </p:nvSpPr>
        <p:spPr>
          <a:xfrm>
            <a:off x="427512" y="1820319"/>
            <a:ext cx="3535141" cy="3372077"/>
          </a:xfrm>
          <a:prstGeom prst="rect">
            <a:avLst/>
          </a:prstGeom>
          <a:noFill/>
        </p:spPr>
        <p:txBody>
          <a:bodyPr wrap="square" rtlCol="0">
            <a:spAutoFit/>
          </a:bodyPr>
          <a:lstStyle/>
          <a:p>
            <a:pPr>
              <a:lnSpc>
                <a:spcPct val="150000"/>
              </a:lnSpc>
            </a:pPr>
            <a:r>
              <a:rPr lang="en-US" sz="1800" b="1" dirty="0"/>
              <a:t>Austin College</a:t>
            </a:r>
          </a:p>
          <a:p>
            <a:pPr>
              <a:lnSpc>
                <a:spcPct val="150000"/>
              </a:lnSpc>
            </a:pPr>
            <a:r>
              <a:rPr lang="en-US" sz="1800" b="1" dirty="0"/>
              <a:t>Bentley University</a:t>
            </a:r>
          </a:p>
          <a:p>
            <a:pPr>
              <a:lnSpc>
                <a:spcPct val="150000"/>
              </a:lnSpc>
            </a:pPr>
            <a:r>
              <a:rPr lang="en-US" sz="1800" b="1" dirty="0"/>
              <a:t>DePaul University</a:t>
            </a:r>
          </a:p>
          <a:p>
            <a:pPr>
              <a:lnSpc>
                <a:spcPct val="150000"/>
              </a:lnSpc>
            </a:pPr>
            <a:r>
              <a:rPr lang="en-US" sz="1800" b="1" dirty="0"/>
              <a:t>DePauw University</a:t>
            </a:r>
          </a:p>
          <a:p>
            <a:pPr>
              <a:lnSpc>
                <a:spcPct val="150000"/>
              </a:lnSpc>
            </a:pPr>
            <a:r>
              <a:rPr lang="en-US" sz="1800" b="1" dirty="0"/>
              <a:t>Duquesne University</a:t>
            </a:r>
          </a:p>
          <a:p>
            <a:pPr>
              <a:lnSpc>
                <a:spcPct val="150000"/>
              </a:lnSpc>
            </a:pPr>
            <a:r>
              <a:rPr lang="en-US" sz="1800" b="1" dirty="0"/>
              <a:t>Hillsdale College</a:t>
            </a:r>
          </a:p>
          <a:p>
            <a:pPr>
              <a:lnSpc>
                <a:spcPct val="150000"/>
              </a:lnSpc>
            </a:pPr>
            <a:r>
              <a:rPr lang="en-US" sz="1800" b="1" dirty="0"/>
              <a:t>Manhattanville College</a:t>
            </a:r>
          </a:p>
          <a:p>
            <a:pPr>
              <a:lnSpc>
                <a:spcPct val="150000"/>
              </a:lnSpc>
            </a:pPr>
            <a:r>
              <a:rPr lang="en-US" sz="1800" b="1" dirty="0"/>
              <a:t>Pratt Institute</a:t>
            </a:r>
          </a:p>
        </p:txBody>
      </p:sp>
      <p:sp>
        <p:nvSpPr>
          <p:cNvPr id="17" name="TextBox 16">
            <a:extLst>
              <a:ext uri="{FF2B5EF4-FFF2-40B4-BE49-F238E27FC236}">
                <a16:creationId xmlns:a16="http://schemas.microsoft.com/office/drawing/2014/main" id="{927B370F-5F0D-AE61-68B3-6A622B8CC58B}"/>
              </a:ext>
            </a:extLst>
          </p:cNvPr>
          <p:cNvSpPr txBox="1"/>
          <p:nvPr/>
        </p:nvSpPr>
        <p:spPr>
          <a:xfrm>
            <a:off x="3453915" y="1814806"/>
            <a:ext cx="5332020" cy="2862322"/>
          </a:xfrm>
          <a:prstGeom prst="rect">
            <a:avLst/>
          </a:prstGeom>
          <a:noFill/>
        </p:spPr>
        <p:txBody>
          <a:bodyPr wrap="square" rtlCol="0">
            <a:spAutoFit/>
          </a:bodyPr>
          <a:lstStyle/>
          <a:p>
            <a:pPr>
              <a:lnSpc>
                <a:spcPct val="150000"/>
              </a:lnSpc>
            </a:pPr>
            <a:r>
              <a:rPr lang="en-US" sz="1800" b="1" dirty="0"/>
              <a:t>Rensselaer Polytechnic Institute</a:t>
            </a:r>
          </a:p>
          <a:p>
            <a:pPr>
              <a:lnSpc>
                <a:spcPct val="150000"/>
              </a:lnSpc>
            </a:pPr>
            <a:r>
              <a:rPr lang="en-US" sz="1800" b="1" dirty="0"/>
              <a:t>Rochester Institute of Technology</a:t>
            </a:r>
          </a:p>
          <a:p>
            <a:pPr>
              <a:lnSpc>
                <a:spcPct val="150000"/>
              </a:lnSpc>
            </a:pPr>
            <a:r>
              <a:rPr lang="en-US" sz="1800" b="1" dirty="0"/>
              <a:t>Rollins College</a:t>
            </a:r>
          </a:p>
          <a:p>
            <a:pPr>
              <a:lnSpc>
                <a:spcPct val="150000"/>
              </a:lnSpc>
            </a:pPr>
            <a:r>
              <a:rPr lang="en-US" sz="1800" b="1" dirty="0"/>
              <a:t>Savannah College pf Art and Design</a:t>
            </a:r>
          </a:p>
          <a:p>
            <a:pPr>
              <a:lnSpc>
                <a:spcPct val="150000"/>
              </a:lnSpc>
            </a:pPr>
            <a:r>
              <a:rPr lang="en-US" sz="1800" b="1" dirty="0"/>
              <a:t>St. Lawrence University</a:t>
            </a:r>
          </a:p>
          <a:p>
            <a:pPr>
              <a:lnSpc>
                <a:spcPct val="150000"/>
              </a:lnSpc>
            </a:pPr>
            <a:r>
              <a:rPr lang="en-US" sz="1800" b="1" dirty="0"/>
              <a:t>Suffolk University BOSTON</a:t>
            </a:r>
          </a:p>
          <a:p>
            <a:endParaRPr lang="en-US" dirty="0"/>
          </a:p>
        </p:txBody>
      </p:sp>
      <p:sp>
        <p:nvSpPr>
          <p:cNvPr id="27" name="TextBox 26">
            <a:extLst>
              <a:ext uri="{FF2B5EF4-FFF2-40B4-BE49-F238E27FC236}">
                <a16:creationId xmlns:a16="http://schemas.microsoft.com/office/drawing/2014/main" id="{1AC39598-C9EE-EA10-F95F-6C2188361FAB}"/>
              </a:ext>
            </a:extLst>
          </p:cNvPr>
          <p:cNvSpPr txBox="1"/>
          <p:nvPr/>
        </p:nvSpPr>
        <p:spPr>
          <a:xfrm>
            <a:off x="7958626" y="1814806"/>
            <a:ext cx="3944155" cy="2862322"/>
          </a:xfrm>
          <a:prstGeom prst="rect">
            <a:avLst/>
          </a:prstGeom>
          <a:noFill/>
        </p:spPr>
        <p:txBody>
          <a:bodyPr wrap="square" rtlCol="0">
            <a:spAutoFit/>
          </a:bodyPr>
          <a:lstStyle/>
          <a:p>
            <a:pPr>
              <a:lnSpc>
                <a:spcPct val="150000"/>
              </a:lnSpc>
            </a:pPr>
            <a:r>
              <a:rPr lang="en-US" sz="1800" b="1" dirty="0"/>
              <a:t>Union College</a:t>
            </a:r>
          </a:p>
          <a:p>
            <a:pPr>
              <a:lnSpc>
                <a:spcPct val="150000"/>
              </a:lnSpc>
            </a:pPr>
            <a:r>
              <a:rPr lang="en-US" sz="1800" b="1" dirty="0"/>
              <a:t>University of Dan Diego</a:t>
            </a:r>
          </a:p>
          <a:p>
            <a:pPr>
              <a:lnSpc>
                <a:spcPct val="150000"/>
              </a:lnSpc>
            </a:pPr>
            <a:r>
              <a:rPr lang="en-US" sz="1800" b="1" dirty="0"/>
              <a:t>Valparaiso University</a:t>
            </a:r>
          </a:p>
          <a:p>
            <a:pPr>
              <a:lnSpc>
                <a:spcPct val="150000"/>
              </a:lnSpc>
            </a:pPr>
            <a:r>
              <a:rPr lang="en-US" sz="1800" b="1" dirty="0"/>
              <a:t>Western New England University</a:t>
            </a:r>
          </a:p>
          <a:p>
            <a:pPr>
              <a:lnSpc>
                <a:spcPct val="150000"/>
              </a:lnSpc>
            </a:pPr>
            <a:r>
              <a:rPr lang="en-US" sz="1800" b="1" dirty="0"/>
              <a:t>Westminster College</a:t>
            </a:r>
          </a:p>
          <a:p>
            <a:pPr>
              <a:lnSpc>
                <a:spcPct val="150000"/>
              </a:lnSpc>
            </a:pPr>
            <a:r>
              <a:rPr lang="en-US" sz="1800" b="1" dirty="0"/>
              <a:t>Worcester Polytechnic Institute</a:t>
            </a:r>
          </a:p>
          <a:p>
            <a:endParaRPr lang="en-US" dirty="0"/>
          </a:p>
        </p:txBody>
      </p:sp>
      <p:pic>
        <p:nvPicPr>
          <p:cNvPr id="5" name="Picture 4">
            <a:extLst>
              <a:ext uri="{FF2B5EF4-FFF2-40B4-BE49-F238E27FC236}">
                <a16:creationId xmlns:a16="http://schemas.microsoft.com/office/drawing/2014/main" id="{F465FA54-676D-4EDD-49D8-7A34AFAB59B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0046208" y="6114392"/>
            <a:ext cx="1490804" cy="617232"/>
          </a:xfrm>
          <a:prstGeom prst="rect">
            <a:avLst/>
          </a:prstGeom>
        </p:spPr>
      </p:pic>
    </p:spTree>
    <p:extLst>
      <p:ext uri="{BB962C8B-B14F-4D97-AF65-F5344CB8AC3E}">
        <p14:creationId xmlns:p14="http://schemas.microsoft.com/office/powerpoint/2010/main" val="8263466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653010-CB6B-4D01-8326-3129C6EF276F}"/>
              </a:ext>
            </a:extLst>
          </p:cNvPr>
          <p:cNvSpPr>
            <a:spLocks noGrp="1"/>
          </p:cNvSpPr>
          <p:nvPr>
            <p:ph type="title"/>
          </p:nvPr>
        </p:nvSpPr>
        <p:spPr>
          <a:xfrm>
            <a:off x="238631" y="1304812"/>
            <a:ext cx="2947482" cy="4601183"/>
          </a:xfrm>
        </p:spPr>
        <p:txBody>
          <a:bodyPr>
            <a:normAutofit fontScale="90000"/>
          </a:bodyPr>
          <a:lstStyle/>
          <a:p>
            <a:pPr algn="ctr"/>
            <a:br>
              <a:rPr lang="en-US" sz="4000" dirty="0">
                <a:latin typeface="Arial" panose="020B0604020202020204" pitchFamily="34" charset="0"/>
                <a:cs typeface="Arial" panose="020B0604020202020204" pitchFamily="34" charset="0"/>
              </a:rPr>
            </a:br>
            <a:br>
              <a:rPr lang="en-US" sz="4000" dirty="0">
                <a:latin typeface="Arial" panose="020B0604020202020204" pitchFamily="34" charset="0"/>
                <a:cs typeface="Arial" panose="020B0604020202020204" pitchFamily="34" charset="0"/>
              </a:rPr>
            </a:br>
            <a:br>
              <a:rPr lang="en-US" sz="4000" dirty="0">
                <a:latin typeface="Arial" panose="020B0604020202020204" pitchFamily="34" charset="0"/>
                <a:cs typeface="Arial" panose="020B0604020202020204" pitchFamily="34" charset="0"/>
              </a:rPr>
            </a:br>
            <a:br>
              <a:rPr lang="en-US" sz="4000" dirty="0">
                <a:latin typeface="Arial" panose="020B0604020202020204" pitchFamily="34" charset="0"/>
                <a:cs typeface="Arial" panose="020B0604020202020204" pitchFamily="34" charset="0"/>
              </a:rPr>
            </a:br>
            <a:br>
              <a:rPr lang="en-US" dirty="0">
                <a:latin typeface="+mn-lt"/>
              </a:rPr>
            </a:br>
            <a:br>
              <a:rPr lang="en-US" dirty="0">
                <a:latin typeface="+mn-lt"/>
              </a:rPr>
            </a:br>
            <a:br>
              <a:rPr lang="en-US" dirty="0"/>
            </a:br>
            <a:br>
              <a:rPr lang="en-US" dirty="0"/>
            </a:br>
            <a:br>
              <a:rPr lang="en-US" dirty="0"/>
            </a:br>
            <a:br>
              <a:rPr lang="en-US" dirty="0"/>
            </a:br>
            <a:br>
              <a:rPr lang="en-US" dirty="0"/>
            </a:br>
            <a:br>
              <a:rPr lang="en-US" dirty="0"/>
            </a:br>
            <a:br>
              <a:rPr lang="en-US" dirty="0"/>
            </a:br>
            <a:br>
              <a:rPr lang="en-US" altLang="en-US" sz="5400" dirty="0">
                <a:solidFill>
                  <a:schemeClr val="tx1"/>
                </a:solidFill>
                <a:latin typeface="Arial" panose="020B0604020202020204" pitchFamily="34" charset="0"/>
              </a:rPr>
            </a:br>
            <a:br>
              <a:rPr lang="en-US" dirty="0"/>
            </a:br>
            <a:endParaRPr lang="en-US" dirty="0"/>
          </a:p>
        </p:txBody>
      </p:sp>
      <p:sp>
        <p:nvSpPr>
          <p:cNvPr id="9" name="Rectangle 8">
            <a:extLst>
              <a:ext uri="{FF2B5EF4-FFF2-40B4-BE49-F238E27FC236}">
                <a16:creationId xmlns:a16="http://schemas.microsoft.com/office/drawing/2014/main" id="{41D7DABB-BC7E-403A-B210-E166D596AEB8}"/>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7" name="Slide Number Placeholder 6">
            <a:extLst>
              <a:ext uri="{FF2B5EF4-FFF2-40B4-BE49-F238E27FC236}">
                <a16:creationId xmlns:a16="http://schemas.microsoft.com/office/drawing/2014/main" id="{D0059D9F-1712-468F-9194-6D4DF990BEB8}"/>
              </a:ext>
            </a:extLst>
          </p:cNvPr>
          <p:cNvSpPr>
            <a:spLocks noGrp="1"/>
          </p:cNvSpPr>
          <p:nvPr>
            <p:ph type="sldNum" sz="quarter" idx="12"/>
          </p:nvPr>
        </p:nvSpPr>
        <p:spPr/>
        <p:txBody>
          <a:bodyPr/>
          <a:lstStyle/>
          <a:p>
            <a:fld id="{4FAB73BC-B049-4115-A692-8D63A059BFB8}" type="slidenum">
              <a:rPr lang="en-US" smtClean="0"/>
              <a:pPr/>
              <a:t>7</a:t>
            </a:fld>
            <a:endParaRPr lang="en-US" dirty="0"/>
          </a:p>
        </p:txBody>
      </p:sp>
      <p:sp>
        <p:nvSpPr>
          <p:cNvPr id="8" name="Text Placeholder 5">
            <a:extLst>
              <a:ext uri="{FF2B5EF4-FFF2-40B4-BE49-F238E27FC236}">
                <a16:creationId xmlns:a16="http://schemas.microsoft.com/office/drawing/2014/main" id="{88AF0A9B-434F-45C6-BC3C-FF1B08D50F6E}"/>
              </a:ext>
            </a:extLst>
          </p:cNvPr>
          <p:cNvSpPr txBox="1">
            <a:spLocks/>
          </p:cNvSpPr>
          <p:nvPr/>
        </p:nvSpPr>
        <p:spPr>
          <a:xfrm>
            <a:off x="528944" y="296977"/>
            <a:ext cx="8415031" cy="702365"/>
          </a:xfrm>
        </p:spPr>
        <p:txBody>
          <a:bodyP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200" b="1" dirty="0">
                <a:solidFill>
                  <a:srgbClr val="336699"/>
                </a:solidFill>
                <a:latin typeface="+mj-lt"/>
              </a:rPr>
              <a:t>The Tuition Rewards Setup Process</a:t>
            </a:r>
            <a:endParaRPr lang="en-US" sz="3200" b="1" dirty="0">
              <a:solidFill>
                <a:srgbClr val="336699"/>
              </a:solidFill>
              <a:cs typeface="Arial" panose="020B0604020202020204" pitchFamily="34" charset="0"/>
            </a:endParaRPr>
          </a:p>
        </p:txBody>
      </p:sp>
      <p:grpSp>
        <p:nvGrpSpPr>
          <p:cNvPr id="31" name="Group 30">
            <a:extLst>
              <a:ext uri="{FF2B5EF4-FFF2-40B4-BE49-F238E27FC236}">
                <a16:creationId xmlns:a16="http://schemas.microsoft.com/office/drawing/2014/main" id="{6BE9B821-AA7F-4A8D-A369-3E45D92CA7ED}"/>
              </a:ext>
            </a:extLst>
          </p:cNvPr>
          <p:cNvGrpSpPr/>
          <p:nvPr/>
        </p:nvGrpSpPr>
        <p:grpSpPr>
          <a:xfrm>
            <a:off x="8482369" y="1486851"/>
            <a:ext cx="2443239" cy="2286000"/>
            <a:chOff x="8360228" y="2429418"/>
            <a:chExt cx="2443239" cy="2286000"/>
          </a:xfrm>
        </p:grpSpPr>
        <p:sp>
          <p:nvSpPr>
            <p:cNvPr id="32" name="Freeform 15">
              <a:extLst>
                <a:ext uri="{FF2B5EF4-FFF2-40B4-BE49-F238E27FC236}">
                  <a16:creationId xmlns:a16="http://schemas.microsoft.com/office/drawing/2014/main" id="{B4918EC4-BF24-4EB1-801F-295FC4E9FC13}"/>
                </a:ext>
              </a:extLst>
            </p:cNvPr>
            <p:cNvSpPr/>
            <p:nvPr/>
          </p:nvSpPr>
          <p:spPr>
            <a:xfrm rot="5400000">
              <a:off x="8396514" y="2393132"/>
              <a:ext cx="2286000" cy="2358572"/>
            </a:xfrm>
            <a:custGeom>
              <a:avLst/>
              <a:gdLst>
                <a:gd name="connsiteX0" fmla="*/ 0 w 2286000"/>
                <a:gd name="connsiteY0" fmla="*/ 2637368 h 2637368"/>
                <a:gd name="connsiteX1" fmla="*/ 0 w 2286000"/>
                <a:gd name="connsiteY1" fmla="*/ 351368 h 2637368"/>
                <a:gd name="connsiteX2" fmla="*/ 879475 w 2286000"/>
                <a:gd name="connsiteY2" fmla="*/ 351368 h 2637368"/>
                <a:gd name="connsiteX3" fmla="*/ 1143000 w 2286000"/>
                <a:gd name="connsiteY3" fmla="*/ 0 h 2637368"/>
                <a:gd name="connsiteX4" fmla="*/ 1406525 w 2286000"/>
                <a:gd name="connsiteY4" fmla="*/ 351368 h 2637368"/>
                <a:gd name="connsiteX5" fmla="*/ 2286000 w 2286000"/>
                <a:gd name="connsiteY5" fmla="*/ 351368 h 2637368"/>
                <a:gd name="connsiteX6" fmla="*/ 2286000 w 2286000"/>
                <a:gd name="connsiteY6" fmla="*/ 2637368 h 2637368"/>
                <a:gd name="connsiteX0" fmla="*/ 0 w 2286000"/>
                <a:gd name="connsiteY0" fmla="*/ 2286000 h 2286000"/>
                <a:gd name="connsiteX1" fmla="*/ 0 w 2286000"/>
                <a:gd name="connsiteY1" fmla="*/ 0 h 2286000"/>
                <a:gd name="connsiteX2" fmla="*/ 879475 w 2286000"/>
                <a:gd name="connsiteY2" fmla="*/ 0 h 2286000"/>
                <a:gd name="connsiteX3" fmla="*/ 1406525 w 2286000"/>
                <a:gd name="connsiteY3" fmla="*/ 0 h 2286000"/>
                <a:gd name="connsiteX4" fmla="*/ 2286000 w 2286000"/>
                <a:gd name="connsiteY4" fmla="*/ 0 h 2286000"/>
                <a:gd name="connsiteX5" fmla="*/ 2286000 w 2286000"/>
                <a:gd name="connsiteY5" fmla="*/ 2286000 h 2286000"/>
                <a:gd name="connsiteX6" fmla="*/ 0 w 2286000"/>
                <a:gd name="connsiteY6" fmla="*/ 2286000 h 2286000"/>
                <a:gd name="connsiteX0" fmla="*/ 0 w 2286000"/>
                <a:gd name="connsiteY0" fmla="*/ 2286000 h 2286000"/>
                <a:gd name="connsiteX1" fmla="*/ 0 w 2286000"/>
                <a:gd name="connsiteY1" fmla="*/ 0 h 2286000"/>
                <a:gd name="connsiteX2" fmla="*/ 1406525 w 2286000"/>
                <a:gd name="connsiteY2" fmla="*/ 0 h 2286000"/>
                <a:gd name="connsiteX3" fmla="*/ 2286000 w 2286000"/>
                <a:gd name="connsiteY3" fmla="*/ 0 h 2286000"/>
                <a:gd name="connsiteX4" fmla="*/ 2286000 w 2286000"/>
                <a:gd name="connsiteY4" fmla="*/ 2286000 h 2286000"/>
                <a:gd name="connsiteX5" fmla="*/ 0 w 2286000"/>
                <a:gd name="connsiteY5" fmla="*/ 2286000 h 2286000"/>
                <a:gd name="connsiteX0" fmla="*/ 0 w 2286000"/>
                <a:gd name="connsiteY0" fmla="*/ 2286000 h 2286000"/>
                <a:gd name="connsiteX1" fmla="*/ 0 w 2286000"/>
                <a:gd name="connsiteY1" fmla="*/ 0 h 2286000"/>
                <a:gd name="connsiteX2" fmla="*/ 2286000 w 2286000"/>
                <a:gd name="connsiteY2" fmla="*/ 0 h 2286000"/>
                <a:gd name="connsiteX3" fmla="*/ 2286000 w 2286000"/>
                <a:gd name="connsiteY3" fmla="*/ 2286000 h 2286000"/>
                <a:gd name="connsiteX4" fmla="*/ 0 w 2286000"/>
                <a:gd name="connsiteY4" fmla="*/ 2286000 h 22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0" h="2286000">
                  <a:moveTo>
                    <a:pt x="0" y="2286000"/>
                  </a:moveTo>
                  <a:lnTo>
                    <a:pt x="0" y="0"/>
                  </a:lnTo>
                  <a:lnTo>
                    <a:pt x="2286000" y="0"/>
                  </a:lnTo>
                  <a:lnTo>
                    <a:pt x="2286000" y="2286000"/>
                  </a:lnTo>
                  <a:lnTo>
                    <a:pt x="0" y="228600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32">
              <a:extLst>
                <a:ext uri="{FF2B5EF4-FFF2-40B4-BE49-F238E27FC236}">
                  <a16:creationId xmlns:a16="http://schemas.microsoft.com/office/drawing/2014/main" id="{780B90AF-7434-4444-A979-AC3B8AEA123A}"/>
                </a:ext>
              </a:extLst>
            </p:cNvPr>
            <p:cNvSpPr/>
            <p:nvPr/>
          </p:nvSpPr>
          <p:spPr>
            <a:xfrm>
              <a:off x="8587875" y="3808372"/>
              <a:ext cx="2215592" cy="568489"/>
            </a:xfrm>
            <a:prstGeom prst="rect">
              <a:avLst/>
            </a:prstGeom>
          </p:spPr>
          <p:txBody>
            <a:bodyPr wrap="square">
              <a:spAutoFit/>
            </a:bodyPr>
            <a:lstStyle/>
            <a:p>
              <a:pPr>
                <a:lnSpc>
                  <a:spcPct val="114000"/>
                </a:lnSpc>
                <a:defRPr/>
              </a:pPr>
              <a:r>
                <a:rPr lang="en-US" sz="1400" dirty="0">
                  <a:solidFill>
                    <a:schemeClr val="bg1"/>
                  </a:solidFill>
                  <a:cs typeface="Segoe UI Semibold" panose="020B0702040204020203" pitchFamily="34" charset="0"/>
                </a:rPr>
                <a:t>Submit Tuition Rewards to College or University</a:t>
              </a:r>
            </a:p>
          </p:txBody>
        </p:sp>
        <p:grpSp>
          <p:nvGrpSpPr>
            <p:cNvPr id="34" name="Group 33">
              <a:extLst>
                <a:ext uri="{FF2B5EF4-FFF2-40B4-BE49-F238E27FC236}">
                  <a16:creationId xmlns:a16="http://schemas.microsoft.com/office/drawing/2014/main" id="{C0914225-7C0D-453E-A60F-26D3CA0A744A}"/>
                </a:ext>
              </a:extLst>
            </p:cNvPr>
            <p:cNvGrpSpPr/>
            <p:nvPr/>
          </p:nvGrpSpPr>
          <p:grpSpPr>
            <a:xfrm>
              <a:off x="8891400" y="2975457"/>
              <a:ext cx="649722" cy="649722"/>
              <a:chOff x="4427653" y="3049908"/>
              <a:chExt cx="464344" cy="464343"/>
            </a:xfrm>
            <a:solidFill>
              <a:schemeClr val="bg1"/>
            </a:solidFill>
          </p:grpSpPr>
          <p:sp>
            <p:nvSpPr>
              <p:cNvPr id="35" name="AutoShape 123">
                <a:extLst>
                  <a:ext uri="{FF2B5EF4-FFF2-40B4-BE49-F238E27FC236}">
                    <a16:creationId xmlns:a16="http://schemas.microsoft.com/office/drawing/2014/main" id="{7C2FA0A7-6F46-4A2E-9545-6714BE987642}"/>
                  </a:ext>
                </a:extLst>
              </p:cNvPr>
              <p:cNvSpPr>
                <a:spLocks/>
              </p:cNvSpPr>
              <p:nvPr/>
            </p:nvSpPr>
            <p:spPr bwMode="auto">
              <a:xfrm>
                <a:off x="4427653" y="3049908"/>
                <a:ext cx="464344" cy="46434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180" y="12132"/>
                    </a:moveTo>
                    <a:cubicBezTo>
                      <a:pt x="17710" y="12226"/>
                      <a:pt x="17327" y="12561"/>
                      <a:pt x="17170" y="13012"/>
                    </a:cubicBezTo>
                    <a:cubicBezTo>
                      <a:pt x="17083" y="13261"/>
                      <a:pt x="16981" y="13503"/>
                      <a:pt x="16868" y="13738"/>
                    </a:cubicBezTo>
                    <a:cubicBezTo>
                      <a:pt x="16658" y="14169"/>
                      <a:pt x="16694" y="14677"/>
                      <a:pt x="16959" y="15075"/>
                    </a:cubicBezTo>
                    <a:lnTo>
                      <a:pt x="18131" y="16833"/>
                    </a:lnTo>
                    <a:lnTo>
                      <a:pt x="16832" y="18132"/>
                    </a:lnTo>
                    <a:lnTo>
                      <a:pt x="15075" y="16960"/>
                    </a:lnTo>
                    <a:cubicBezTo>
                      <a:pt x="14850" y="16810"/>
                      <a:pt x="14589" y="16733"/>
                      <a:pt x="14326" y="16733"/>
                    </a:cubicBezTo>
                    <a:cubicBezTo>
                      <a:pt x="14126" y="16733"/>
                      <a:pt x="13924" y="16778"/>
                      <a:pt x="13738" y="16868"/>
                    </a:cubicBezTo>
                    <a:cubicBezTo>
                      <a:pt x="13504" y="16981"/>
                      <a:pt x="13262" y="17083"/>
                      <a:pt x="13012" y="17170"/>
                    </a:cubicBezTo>
                    <a:cubicBezTo>
                      <a:pt x="12561" y="17327"/>
                      <a:pt x="12226" y="17712"/>
                      <a:pt x="12133" y="18180"/>
                    </a:cubicBezTo>
                    <a:lnTo>
                      <a:pt x="11717" y="20249"/>
                    </a:lnTo>
                    <a:lnTo>
                      <a:pt x="9881" y="20249"/>
                    </a:lnTo>
                    <a:lnTo>
                      <a:pt x="9467" y="18180"/>
                    </a:lnTo>
                    <a:cubicBezTo>
                      <a:pt x="9373" y="17712"/>
                      <a:pt x="9039" y="17327"/>
                      <a:pt x="8588" y="17170"/>
                    </a:cubicBezTo>
                    <a:cubicBezTo>
                      <a:pt x="8339" y="17083"/>
                      <a:pt x="8096" y="16983"/>
                      <a:pt x="7861" y="16869"/>
                    </a:cubicBezTo>
                    <a:cubicBezTo>
                      <a:pt x="7675" y="16778"/>
                      <a:pt x="7474" y="16733"/>
                      <a:pt x="7273" y="16733"/>
                    </a:cubicBezTo>
                    <a:cubicBezTo>
                      <a:pt x="7011" y="16733"/>
                      <a:pt x="6750" y="16810"/>
                      <a:pt x="6525" y="16960"/>
                    </a:cubicBezTo>
                    <a:lnTo>
                      <a:pt x="4767" y="18132"/>
                    </a:lnTo>
                    <a:lnTo>
                      <a:pt x="3468" y="16833"/>
                    </a:lnTo>
                    <a:lnTo>
                      <a:pt x="4639" y="15075"/>
                    </a:lnTo>
                    <a:cubicBezTo>
                      <a:pt x="4904" y="14677"/>
                      <a:pt x="4939" y="14169"/>
                      <a:pt x="4732" y="13738"/>
                    </a:cubicBezTo>
                    <a:cubicBezTo>
                      <a:pt x="4618" y="13504"/>
                      <a:pt x="4516" y="13263"/>
                      <a:pt x="4429" y="13013"/>
                    </a:cubicBezTo>
                    <a:cubicBezTo>
                      <a:pt x="4273" y="12561"/>
                      <a:pt x="3888" y="12227"/>
                      <a:pt x="3419" y="12133"/>
                    </a:cubicBezTo>
                    <a:lnTo>
                      <a:pt x="1350" y="11718"/>
                    </a:lnTo>
                    <a:lnTo>
                      <a:pt x="1349" y="9882"/>
                    </a:lnTo>
                    <a:lnTo>
                      <a:pt x="3419" y="9468"/>
                    </a:lnTo>
                    <a:cubicBezTo>
                      <a:pt x="3888" y="9374"/>
                      <a:pt x="4273" y="9039"/>
                      <a:pt x="4429" y="8588"/>
                    </a:cubicBezTo>
                    <a:cubicBezTo>
                      <a:pt x="4516" y="8338"/>
                      <a:pt x="4617" y="8096"/>
                      <a:pt x="4731" y="7862"/>
                    </a:cubicBezTo>
                    <a:cubicBezTo>
                      <a:pt x="4940" y="7431"/>
                      <a:pt x="4905" y="6923"/>
                      <a:pt x="4639" y="6524"/>
                    </a:cubicBezTo>
                    <a:lnTo>
                      <a:pt x="3468" y="4767"/>
                    </a:lnTo>
                    <a:lnTo>
                      <a:pt x="4767" y="3468"/>
                    </a:lnTo>
                    <a:lnTo>
                      <a:pt x="6525" y="4639"/>
                    </a:lnTo>
                    <a:cubicBezTo>
                      <a:pt x="6750" y="4790"/>
                      <a:pt x="7011" y="4866"/>
                      <a:pt x="7273" y="4866"/>
                    </a:cubicBezTo>
                    <a:cubicBezTo>
                      <a:pt x="7474" y="4866"/>
                      <a:pt x="7674" y="4822"/>
                      <a:pt x="7861" y="4732"/>
                    </a:cubicBezTo>
                    <a:cubicBezTo>
                      <a:pt x="8095" y="4619"/>
                      <a:pt x="8337" y="4517"/>
                      <a:pt x="8586" y="4430"/>
                    </a:cubicBezTo>
                    <a:cubicBezTo>
                      <a:pt x="9039" y="4272"/>
                      <a:pt x="9373" y="3888"/>
                      <a:pt x="9467" y="3420"/>
                    </a:cubicBezTo>
                    <a:lnTo>
                      <a:pt x="9881" y="1350"/>
                    </a:lnTo>
                    <a:lnTo>
                      <a:pt x="11717" y="1350"/>
                    </a:lnTo>
                    <a:lnTo>
                      <a:pt x="12131" y="3420"/>
                    </a:lnTo>
                    <a:cubicBezTo>
                      <a:pt x="12225" y="3888"/>
                      <a:pt x="12560" y="4272"/>
                      <a:pt x="13012" y="4430"/>
                    </a:cubicBezTo>
                    <a:cubicBezTo>
                      <a:pt x="13261" y="4517"/>
                      <a:pt x="13502" y="4617"/>
                      <a:pt x="13737" y="4731"/>
                    </a:cubicBezTo>
                    <a:cubicBezTo>
                      <a:pt x="13924" y="4822"/>
                      <a:pt x="14125" y="4866"/>
                      <a:pt x="14326" y="4866"/>
                    </a:cubicBezTo>
                    <a:cubicBezTo>
                      <a:pt x="14589" y="4866"/>
                      <a:pt x="14850" y="4790"/>
                      <a:pt x="15075" y="4639"/>
                    </a:cubicBezTo>
                    <a:lnTo>
                      <a:pt x="16832" y="3468"/>
                    </a:lnTo>
                    <a:lnTo>
                      <a:pt x="18131" y="4767"/>
                    </a:lnTo>
                    <a:lnTo>
                      <a:pt x="16959" y="6524"/>
                    </a:lnTo>
                    <a:cubicBezTo>
                      <a:pt x="16694" y="6923"/>
                      <a:pt x="16660" y="7431"/>
                      <a:pt x="16867" y="7861"/>
                    </a:cubicBezTo>
                    <a:cubicBezTo>
                      <a:pt x="16980" y="8096"/>
                      <a:pt x="17083" y="8337"/>
                      <a:pt x="17170" y="8587"/>
                    </a:cubicBezTo>
                    <a:cubicBezTo>
                      <a:pt x="17327" y="9039"/>
                      <a:pt x="17710" y="9373"/>
                      <a:pt x="18180" y="9467"/>
                    </a:cubicBezTo>
                    <a:lnTo>
                      <a:pt x="20248" y="9882"/>
                    </a:lnTo>
                    <a:lnTo>
                      <a:pt x="20250" y="11718"/>
                    </a:lnTo>
                    <a:cubicBezTo>
                      <a:pt x="20250" y="11718"/>
                      <a:pt x="18180" y="12132"/>
                      <a:pt x="18180" y="12132"/>
                    </a:cubicBezTo>
                    <a:close/>
                    <a:moveTo>
                      <a:pt x="20513" y="8558"/>
                    </a:moveTo>
                    <a:lnTo>
                      <a:pt x="18445" y="8143"/>
                    </a:lnTo>
                    <a:cubicBezTo>
                      <a:pt x="18341" y="7844"/>
                      <a:pt x="18218" y="7554"/>
                      <a:pt x="18082" y="7273"/>
                    </a:cubicBezTo>
                    <a:lnTo>
                      <a:pt x="19254" y="5516"/>
                    </a:lnTo>
                    <a:cubicBezTo>
                      <a:pt x="19611" y="4980"/>
                      <a:pt x="19540" y="4268"/>
                      <a:pt x="19085" y="3813"/>
                    </a:cubicBezTo>
                    <a:lnTo>
                      <a:pt x="17787" y="2514"/>
                    </a:lnTo>
                    <a:cubicBezTo>
                      <a:pt x="17526" y="2253"/>
                      <a:pt x="17181" y="2118"/>
                      <a:pt x="16831" y="2118"/>
                    </a:cubicBezTo>
                    <a:cubicBezTo>
                      <a:pt x="16573" y="2118"/>
                      <a:pt x="16312" y="2193"/>
                      <a:pt x="16084" y="2345"/>
                    </a:cubicBezTo>
                    <a:lnTo>
                      <a:pt x="14326" y="3516"/>
                    </a:lnTo>
                    <a:cubicBezTo>
                      <a:pt x="14044" y="3380"/>
                      <a:pt x="13754" y="3258"/>
                      <a:pt x="13455" y="3155"/>
                    </a:cubicBezTo>
                    <a:lnTo>
                      <a:pt x="13041" y="1085"/>
                    </a:lnTo>
                    <a:cubicBezTo>
                      <a:pt x="12916" y="454"/>
                      <a:pt x="12361" y="0"/>
                      <a:pt x="11717" y="0"/>
                    </a:cubicBezTo>
                    <a:lnTo>
                      <a:pt x="9881" y="0"/>
                    </a:lnTo>
                    <a:cubicBezTo>
                      <a:pt x="9238" y="0"/>
                      <a:pt x="8684" y="454"/>
                      <a:pt x="8557" y="1085"/>
                    </a:cubicBezTo>
                    <a:lnTo>
                      <a:pt x="8143" y="3155"/>
                    </a:lnTo>
                    <a:cubicBezTo>
                      <a:pt x="7843" y="3258"/>
                      <a:pt x="7554" y="3381"/>
                      <a:pt x="7273" y="3516"/>
                    </a:cubicBezTo>
                    <a:lnTo>
                      <a:pt x="5516" y="2345"/>
                    </a:lnTo>
                    <a:cubicBezTo>
                      <a:pt x="5287" y="2193"/>
                      <a:pt x="5026" y="2118"/>
                      <a:pt x="4767" y="2118"/>
                    </a:cubicBezTo>
                    <a:cubicBezTo>
                      <a:pt x="4419" y="2118"/>
                      <a:pt x="4073" y="2253"/>
                      <a:pt x="3812" y="2514"/>
                    </a:cubicBezTo>
                    <a:lnTo>
                      <a:pt x="2514" y="3813"/>
                    </a:lnTo>
                    <a:cubicBezTo>
                      <a:pt x="2059" y="4268"/>
                      <a:pt x="1988" y="4980"/>
                      <a:pt x="2345" y="5516"/>
                    </a:cubicBezTo>
                    <a:lnTo>
                      <a:pt x="3516" y="7273"/>
                    </a:lnTo>
                    <a:cubicBezTo>
                      <a:pt x="3380" y="7555"/>
                      <a:pt x="3258" y="7844"/>
                      <a:pt x="3154" y="8144"/>
                    </a:cubicBezTo>
                    <a:lnTo>
                      <a:pt x="1085" y="8558"/>
                    </a:lnTo>
                    <a:cubicBezTo>
                      <a:pt x="454" y="8684"/>
                      <a:pt x="0" y="9238"/>
                      <a:pt x="0" y="9882"/>
                    </a:cubicBezTo>
                    <a:lnTo>
                      <a:pt x="0" y="11718"/>
                    </a:lnTo>
                    <a:cubicBezTo>
                      <a:pt x="0" y="12361"/>
                      <a:pt x="454" y="12916"/>
                      <a:pt x="1085" y="13042"/>
                    </a:cubicBezTo>
                    <a:lnTo>
                      <a:pt x="3154" y="13456"/>
                    </a:lnTo>
                    <a:cubicBezTo>
                      <a:pt x="3258" y="13755"/>
                      <a:pt x="3380" y="14046"/>
                      <a:pt x="3516" y="14326"/>
                    </a:cubicBezTo>
                    <a:lnTo>
                      <a:pt x="2345" y="16083"/>
                    </a:lnTo>
                    <a:cubicBezTo>
                      <a:pt x="1988" y="16619"/>
                      <a:pt x="2059" y="17332"/>
                      <a:pt x="2514" y="17787"/>
                    </a:cubicBezTo>
                    <a:lnTo>
                      <a:pt x="3812" y="19086"/>
                    </a:lnTo>
                    <a:cubicBezTo>
                      <a:pt x="4073" y="19346"/>
                      <a:pt x="4419" y="19482"/>
                      <a:pt x="4767" y="19482"/>
                    </a:cubicBezTo>
                    <a:cubicBezTo>
                      <a:pt x="5026" y="19482"/>
                      <a:pt x="5287" y="19406"/>
                      <a:pt x="5516" y="19254"/>
                    </a:cubicBezTo>
                    <a:lnTo>
                      <a:pt x="7273" y="18083"/>
                    </a:lnTo>
                    <a:cubicBezTo>
                      <a:pt x="7554" y="18220"/>
                      <a:pt x="7843" y="18341"/>
                      <a:pt x="8143" y="18445"/>
                    </a:cubicBezTo>
                    <a:lnTo>
                      <a:pt x="8557" y="20514"/>
                    </a:lnTo>
                    <a:cubicBezTo>
                      <a:pt x="8684" y="21146"/>
                      <a:pt x="9238" y="21599"/>
                      <a:pt x="9881" y="21599"/>
                    </a:cubicBezTo>
                    <a:lnTo>
                      <a:pt x="11717" y="21599"/>
                    </a:lnTo>
                    <a:cubicBezTo>
                      <a:pt x="12361" y="21599"/>
                      <a:pt x="12916" y="21146"/>
                      <a:pt x="13041" y="20514"/>
                    </a:cubicBezTo>
                    <a:lnTo>
                      <a:pt x="13456" y="18445"/>
                    </a:lnTo>
                    <a:cubicBezTo>
                      <a:pt x="13755" y="18341"/>
                      <a:pt x="14046" y="18219"/>
                      <a:pt x="14326" y="18083"/>
                    </a:cubicBezTo>
                    <a:lnTo>
                      <a:pt x="16084" y="19254"/>
                    </a:lnTo>
                    <a:cubicBezTo>
                      <a:pt x="16312" y="19406"/>
                      <a:pt x="16573" y="19482"/>
                      <a:pt x="16831" y="19482"/>
                    </a:cubicBezTo>
                    <a:cubicBezTo>
                      <a:pt x="17181" y="19482"/>
                      <a:pt x="17526" y="19346"/>
                      <a:pt x="17787" y="19086"/>
                    </a:cubicBezTo>
                    <a:lnTo>
                      <a:pt x="19085" y="17787"/>
                    </a:lnTo>
                    <a:cubicBezTo>
                      <a:pt x="19540" y="17332"/>
                      <a:pt x="19611" y="16619"/>
                      <a:pt x="19254" y="16083"/>
                    </a:cubicBezTo>
                    <a:lnTo>
                      <a:pt x="18082" y="14326"/>
                    </a:lnTo>
                    <a:cubicBezTo>
                      <a:pt x="18219" y="14045"/>
                      <a:pt x="18341" y="13755"/>
                      <a:pt x="18445" y="13456"/>
                    </a:cubicBezTo>
                    <a:lnTo>
                      <a:pt x="20513" y="13042"/>
                    </a:lnTo>
                    <a:cubicBezTo>
                      <a:pt x="21145" y="12916"/>
                      <a:pt x="21599" y="12361"/>
                      <a:pt x="21599" y="11718"/>
                    </a:cubicBezTo>
                    <a:lnTo>
                      <a:pt x="21599" y="9882"/>
                    </a:lnTo>
                    <a:cubicBezTo>
                      <a:pt x="21599" y="9238"/>
                      <a:pt x="21145" y="8684"/>
                      <a:pt x="20513" y="8558"/>
                    </a:cubicBezTo>
                  </a:path>
                </a:pathLst>
              </a:custGeom>
              <a:grpFill/>
              <a:ln>
                <a:no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dirty="0">
                  <a:solidFill>
                    <a:srgbClr val="FFFFFF"/>
                  </a:solidFill>
                  <a:effectLst>
                    <a:outerShdw blurRad="38100" dist="38100" dir="2700000" algn="tl">
                      <a:srgbClr val="000000"/>
                    </a:outerShdw>
                  </a:effectLst>
                  <a:latin typeface="Gill Sans" charset="0"/>
                  <a:sym typeface="Gill Sans" charset="0"/>
                </a:endParaRPr>
              </a:p>
            </p:txBody>
          </p:sp>
          <p:sp>
            <p:nvSpPr>
              <p:cNvPr id="36" name="AutoShape 124">
                <a:extLst>
                  <a:ext uri="{FF2B5EF4-FFF2-40B4-BE49-F238E27FC236}">
                    <a16:creationId xmlns:a16="http://schemas.microsoft.com/office/drawing/2014/main" id="{1C4DDD6B-8984-4BC4-9E0F-F1876647EFB4}"/>
                  </a:ext>
                </a:extLst>
              </p:cNvPr>
              <p:cNvSpPr>
                <a:spLocks/>
              </p:cNvSpPr>
              <p:nvPr/>
            </p:nvSpPr>
            <p:spPr bwMode="auto">
              <a:xfrm>
                <a:off x="4558623" y="3180084"/>
                <a:ext cx="203200" cy="2032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20250"/>
                    </a:moveTo>
                    <a:cubicBezTo>
                      <a:pt x="5580" y="20250"/>
                      <a:pt x="1350" y="16017"/>
                      <a:pt x="1350" y="10800"/>
                    </a:cubicBezTo>
                    <a:cubicBezTo>
                      <a:pt x="1350" y="5582"/>
                      <a:pt x="5580" y="1349"/>
                      <a:pt x="10800" y="1349"/>
                    </a:cubicBezTo>
                    <a:cubicBezTo>
                      <a:pt x="16016" y="1349"/>
                      <a:pt x="20250" y="5582"/>
                      <a:pt x="20250" y="10800"/>
                    </a:cubicBezTo>
                    <a:cubicBezTo>
                      <a:pt x="20250" y="16017"/>
                      <a:pt x="16016" y="20250"/>
                      <a:pt x="10800" y="20250"/>
                    </a:cubicBezTo>
                    <a:moveTo>
                      <a:pt x="10800" y="0"/>
                    </a:moveTo>
                    <a:cubicBezTo>
                      <a:pt x="4836" y="0"/>
                      <a:pt x="0" y="4836"/>
                      <a:pt x="0" y="10800"/>
                    </a:cubicBezTo>
                    <a:cubicBezTo>
                      <a:pt x="0" y="16763"/>
                      <a:pt x="4836" y="21600"/>
                      <a:pt x="10800" y="21600"/>
                    </a:cubicBezTo>
                    <a:cubicBezTo>
                      <a:pt x="16763" y="21600"/>
                      <a:pt x="21599" y="16763"/>
                      <a:pt x="21599" y="10800"/>
                    </a:cubicBezTo>
                    <a:cubicBezTo>
                      <a:pt x="21599" y="4836"/>
                      <a:pt x="16763" y="0"/>
                      <a:pt x="10800" y="0"/>
                    </a:cubicBezTo>
                  </a:path>
                </a:pathLst>
              </a:custGeom>
              <a:grpFill/>
              <a:ln>
                <a:no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dirty="0">
                  <a:solidFill>
                    <a:srgbClr val="FFFFFF"/>
                  </a:solidFill>
                  <a:effectLst>
                    <a:outerShdw blurRad="38100" dist="38100" dir="2700000" algn="tl">
                      <a:srgbClr val="000000"/>
                    </a:outerShdw>
                  </a:effectLst>
                  <a:latin typeface="Gill Sans" charset="0"/>
                  <a:sym typeface="Gill Sans" charset="0"/>
                </a:endParaRPr>
              </a:p>
            </p:txBody>
          </p:sp>
          <p:sp>
            <p:nvSpPr>
              <p:cNvPr id="37" name="AutoShape 125">
                <a:extLst>
                  <a:ext uri="{FF2B5EF4-FFF2-40B4-BE49-F238E27FC236}">
                    <a16:creationId xmlns:a16="http://schemas.microsoft.com/office/drawing/2014/main" id="{C77E7E03-8250-4CEB-839E-8819EE2CA47A}"/>
                  </a:ext>
                </a:extLst>
              </p:cNvPr>
              <p:cNvSpPr>
                <a:spLocks/>
              </p:cNvSpPr>
              <p:nvPr/>
            </p:nvSpPr>
            <p:spPr bwMode="auto">
              <a:xfrm>
                <a:off x="4601485" y="3223740"/>
                <a:ext cx="116682" cy="11668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18900"/>
                    </a:moveTo>
                    <a:cubicBezTo>
                      <a:pt x="6328" y="18900"/>
                      <a:pt x="2699" y="15271"/>
                      <a:pt x="2699" y="10800"/>
                    </a:cubicBezTo>
                    <a:cubicBezTo>
                      <a:pt x="2699" y="6329"/>
                      <a:pt x="6328" y="2700"/>
                      <a:pt x="10800" y="2700"/>
                    </a:cubicBezTo>
                    <a:cubicBezTo>
                      <a:pt x="15271" y="2700"/>
                      <a:pt x="18899" y="6329"/>
                      <a:pt x="18899" y="10800"/>
                    </a:cubicBezTo>
                    <a:cubicBezTo>
                      <a:pt x="18899" y="15271"/>
                      <a:pt x="15271" y="18900"/>
                      <a:pt x="10800" y="18900"/>
                    </a:cubicBezTo>
                    <a:moveTo>
                      <a:pt x="10800" y="0"/>
                    </a:moveTo>
                    <a:cubicBezTo>
                      <a:pt x="4830" y="0"/>
                      <a:pt x="0" y="4833"/>
                      <a:pt x="0" y="10800"/>
                    </a:cubicBezTo>
                    <a:cubicBezTo>
                      <a:pt x="0" y="16766"/>
                      <a:pt x="4830" y="21599"/>
                      <a:pt x="10800" y="21599"/>
                    </a:cubicBezTo>
                    <a:cubicBezTo>
                      <a:pt x="16764" y="21599"/>
                      <a:pt x="21600" y="16766"/>
                      <a:pt x="21600" y="10800"/>
                    </a:cubicBezTo>
                    <a:cubicBezTo>
                      <a:pt x="21600" y="4833"/>
                      <a:pt x="16764" y="0"/>
                      <a:pt x="10800" y="0"/>
                    </a:cubicBezTo>
                  </a:path>
                </a:pathLst>
              </a:custGeom>
              <a:grpFill/>
              <a:ln>
                <a:no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dirty="0">
                  <a:solidFill>
                    <a:srgbClr val="FFFFFF"/>
                  </a:solidFill>
                  <a:effectLst>
                    <a:outerShdw blurRad="38100" dist="38100" dir="2700000" algn="tl">
                      <a:srgbClr val="000000"/>
                    </a:outerShdw>
                  </a:effectLst>
                  <a:latin typeface="Gill Sans" charset="0"/>
                  <a:sym typeface="Gill Sans" charset="0"/>
                </a:endParaRPr>
              </a:p>
            </p:txBody>
          </p:sp>
        </p:grpSp>
      </p:grpSp>
      <p:grpSp>
        <p:nvGrpSpPr>
          <p:cNvPr id="38" name="Group 37">
            <a:extLst>
              <a:ext uri="{FF2B5EF4-FFF2-40B4-BE49-F238E27FC236}">
                <a16:creationId xmlns:a16="http://schemas.microsoft.com/office/drawing/2014/main" id="{6DC61C97-B400-4B98-BC79-CF4C1CD6A8CF}"/>
              </a:ext>
            </a:extLst>
          </p:cNvPr>
          <p:cNvGrpSpPr/>
          <p:nvPr/>
        </p:nvGrpSpPr>
        <p:grpSpPr>
          <a:xfrm>
            <a:off x="6199873" y="1486851"/>
            <a:ext cx="2637368" cy="2286000"/>
            <a:chOff x="6088743" y="2429418"/>
            <a:chExt cx="2637368" cy="2286000"/>
          </a:xfrm>
        </p:grpSpPr>
        <p:sp>
          <p:nvSpPr>
            <p:cNvPr id="39" name="Freeform 27">
              <a:extLst>
                <a:ext uri="{FF2B5EF4-FFF2-40B4-BE49-F238E27FC236}">
                  <a16:creationId xmlns:a16="http://schemas.microsoft.com/office/drawing/2014/main" id="{1F64B90E-7DDE-4682-AE7D-73AD6FB91DCE}"/>
                </a:ext>
              </a:extLst>
            </p:cNvPr>
            <p:cNvSpPr/>
            <p:nvPr/>
          </p:nvSpPr>
          <p:spPr>
            <a:xfrm rot="5400000">
              <a:off x="6264427" y="2253734"/>
              <a:ext cx="2286000" cy="2637368"/>
            </a:xfrm>
            <a:custGeom>
              <a:avLst/>
              <a:gdLst>
                <a:gd name="connsiteX0" fmla="*/ 0 w 2286000"/>
                <a:gd name="connsiteY0" fmla="*/ 2637368 h 2637368"/>
                <a:gd name="connsiteX1" fmla="*/ 0 w 2286000"/>
                <a:gd name="connsiteY1" fmla="*/ 351368 h 2637368"/>
                <a:gd name="connsiteX2" fmla="*/ 879475 w 2286000"/>
                <a:gd name="connsiteY2" fmla="*/ 351368 h 2637368"/>
                <a:gd name="connsiteX3" fmla="*/ 1143000 w 2286000"/>
                <a:gd name="connsiteY3" fmla="*/ 0 h 2637368"/>
                <a:gd name="connsiteX4" fmla="*/ 1406525 w 2286000"/>
                <a:gd name="connsiteY4" fmla="*/ 351368 h 2637368"/>
                <a:gd name="connsiteX5" fmla="*/ 2286000 w 2286000"/>
                <a:gd name="connsiteY5" fmla="*/ 351368 h 2637368"/>
                <a:gd name="connsiteX6" fmla="*/ 2286000 w 2286000"/>
                <a:gd name="connsiteY6" fmla="*/ 2637368 h 263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86000" h="2637368">
                  <a:moveTo>
                    <a:pt x="0" y="2637368"/>
                  </a:moveTo>
                  <a:lnTo>
                    <a:pt x="0" y="351368"/>
                  </a:lnTo>
                  <a:lnTo>
                    <a:pt x="879475" y="351368"/>
                  </a:lnTo>
                  <a:lnTo>
                    <a:pt x="1143000" y="0"/>
                  </a:lnTo>
                  <a:lnTo>
                    <a:pt x="1406525" y="351368"/>
                  </a:lnTo>
                  <a:lnTo>
                    <a:pt x="2286000" y="351368"/>
                  </a:lnTo>
                  <a:lnTo>
                    <a:pt x="2286000" y="2637368"/>
                  </a:ln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Rectangle 39">
              <a:extLst>
                <a:ext uri="{FF2B5EF4-FFF2-40B4-BE49-F238E27FC236}">
                  <a16:creationId xmlns:a16="http://schemas.microsoft.com/office/drawing/2014/main" id="{C3B7677F-6978-4F55-B117-6C94B28B112F}"/>
                </a:ext>
              </a:extLst>
            </p:cNvPr>
            <p:cNvSpPr/>
            <p:nvPr/>
          </p:nvSpPr>
          <p:spPr>
            <a:xfrm>
              <a:off x="6325669" y="3808372"/>
              <a:ext cx="2005533" cy="568489"/>
            </a:xfrm>
            <a:prstGeom prst="rect">
              <a:avLst/>
            </a:prstGeom>
          </p:spPr>
          <p:txBody>
            <a:bodyPr wrap="square">
              <a:spAutoFit/>
            </a:bodyPr>
            <a:lstStyle/>
            <a:p>
              <a:pPr>
                <a:lnSpc>
                  <a:spcPct val="114000"/>
                </a:lnSpc>
                <a:defRPr/>
              </a:pPr>
              <a:r>
                <a:rPr lang="en-US" sz="1400" dirty="0">
                  <a:solidFill>
                    <a:schemeClr val="bg1"/>
                  </a:solidFill>
                  <a:cs typeface="Segoe UI Semibold" panose="020B0702040204020203" pitchFamily="34" charset="0"/>
                </a:rPr>
                <a:t>Move Tuition Rewards to Student’s Account</a:t>
              </a:r>
            </a:p>
          </p:txBody>
        </p:sp>
        <p:sp>
          <p:nvSpPr>
            <p:cNvPr id="41" name="AutoShape 112">
              <a:extLst>
                <a:ext uri="{FF2B5EF4-FFF2-40B4-BE49-F238E27FC236}">
                  <a16:creationId xmlns:a16="http://schemas.microsoft.com/office/drawing/2014/main" id="{1A6D1369-67C5-4CBF-B7BF-3F4ED7EE56A0}"/>
                </a:ext>
              </a:extLst>
            </p:cNvPr>
            <p:cNvSpPr>
              <a:spLocks/>
            </p:cNvSpPr>
            <p:nvPr/>
          </p:nvSpPr>
          <p:spPr bwMode="auto">
            <a:xfrm>
              <a:off x="6586670" y="2979173"/>
              <a:ext cx="649722" cy="650834"/>
            </a:xfrm>
            <a:custGeom>
              <a:avLst/>
              <a:gdLst>
                <a:gd name="T0" fmla="*/ 10510 w 21020"/>
                <a:gd name="T1" fmla="*/ 10800 h 21600"/>
                <a:gd name="T2" fmla="*/ 10510 w 21020"/>
                <a:gd name="T3" fmla="*/ 10800 h 21600"/>
                <a:gd name="T4" fmla="*/ 10510 w 21020"/>
                <a:gd name="T5" fmla="*/ 10800 h 21600"/>
                <a:gd name="T6" fmla="*/ 10510 w 21020"/>
                <a:gd name="T7" fmla="*/ 10800 h 21600"/>
              </a:gdLst>
              <a:ahLst/>
              <a:cxnLst>
                <a:cxn ang="0">
                  <a:pos x="T0" y="T1"/>
                </a:cxn>
                <a:cxn ang="0">
                  <a:pos x="T2" y="T3"/>
                </a:cxn>
                <a:cxn ang="0">
                  <a:pos x="T4" y="T5"/>
                </a:cxn>
                <a:cxn ang="0">
                  <a:pos x="T6" y="T7"/>
                </a:cxn>
              </a:cxnLst>
              <a:rect l="0" t="0" r="r" b="b"/>
              <a:pathLst>
                <a:path w="21020" h="21600">
                  <a:moveTo>
                    <a:pt x="18846" y="7946"/>
                  </a:moveTo>
                  <a:lnTo>
                    <a:pt x="17740" y="9091"/>
                  </a:lnTo>
                  <a:cubicBezTo>
                    <a:pt x="17740" y="8939"/>
                    <a:pt x="17758" y="8792"/>
                    <a:pt x="17744" y="8636"/>
                  </a:cubicBezTo>
                  <a:cubicBezTo>
                    <a:pt x="17629" y="7331"/>
                    <a:pt x="17036" y="6068"/>
                    <a:pt x="16074" y="5080"/>
                  </a:cubicBezTo>
                  <a:cubicBezTo>
                    <a:pt x="15004" y="3980"/>
                    <a:pt x="13585" y="3348"/>
                    <a:pt x="12180" y="3345"/>
                  </a:cubicBezTo>
                  <a:lnTo>
                    <a:pt x="13268" y="2218"/>
                  </a:lnTo>
                  <a:cubicBezTo>
                    <a:pt x="13812" y="1659"/>
                    <a:pt x="14572" y="1350"/>
                    <a:pt x="15403" y="1350"/>
                  </a:cubicBezTo>
                  <a:cubicBezTo>
                    <a:pt x="16460" y="1350"/>
                    <a:pt x="17546" y="1840"/>
                    <a:pt x="18381" y="2696"/>
                  </a:cubicBezTo>
                  <a:cubicBezTo>
                    <a:pt x="19165" y="3500"/>
                    <a:pt x="19631" y="4499"/>
                    <a:pt x="19698" y="5510"/>
                  </a:cubicBezTo>
                  <a:cubicBezTo>
                    <a:pt x="19760" y="6453"/>
                    <a:pt x="19457" y="7317"/>
                    <a:pt x="18846" y="7946"/>
                  </a:cubicBezTo>
                  <a:moveTo>
                    <a:pt x="5828" y="19329"/>
                  </a:moveTo>
                  <a:cubicBezTo>
                    <a:pt x="5813" y="18424"/>
                    <a:pt x="5454" y="17481"/>
                    <a:pt x="4730" y="16739"/>
                  </a:cubicBezTo>
                  <a:cubicBezTo>
                    <a:pt x="4046" y="16034"/>
                    <a:pt x="3150" y="15628"/>
                    <a:pt x="2257" y="15592"/>
                  </a:cubicBezTo>
                  <a:lnTo>
                    <a:pt x="2911" y="13157"/>
                  </a:lnTo>
                  <a:cubicBezTo>
                    <a:pt x="2959" y="12995"/>
                    <a:pt x="3052" y="12835"/>
                    <a:pt x="3168" y="12695"/>
                  </a:cubicBezTo>
                  <a:cubicBezTo>
                    <a:pt x="4485" y="11726"/>
                    <a:pt x="6512" y="12012"/>
                    <a:pt x="7920" y="13460"/>
                  </a:cubicBezTo>
                  <a:cubicBezTo>
                    <a:pt x="9409" y="14990"/>
                    <a:pt x="9639" y="17230"/>
                    <a:pt x="8492" y="18568"/>
                  </a:cubicBezTo>
                  <a:cubicBezTo>
                    <a:pt x="8416" y="18609"/>
                    <a:pt x="8339" y="18648"/>
                    <a:pt x="8256" y="18675"/>
                  </a:cubicBezTo>
                  <a:cubicBezTo>
                    <a:pt x="8256" y="18675"/>
                    <a:pt x="5828" y="19329"/>
                    <a:pt x="5828" y="19329"/>
                  </a:cubicBezTo>
                  <a:close/>
                  <a:moveTo>
                    <a:pt x="2737" y="20164"/>
                  </a:moveTo>
                  <a:cubicBezTo>
                    <a:pt x="2665" y="20181"/>
                    <a:pt x="2443" y="20239"/>
                    <a:pt x="2291" y="20249"/>
                  </a:cubicBezTo>
                  <a:cubicBezTo>
                    <a:pt x="1751" y="20244"/>
                    <a:pt x="1313" y="19792"/>
                    <a:pt x="1313" y="19237"/>
                  </a:cubicBezTo>
                  <a:cubicBezTo>
                    <a:pt x="1321" y="19124"/>
                    <a:pt x="1365" y="18929"/>
                    <a:pt x="1380" y="18857"/>
                  </a:cubicBezTo>
                  <a:lnTo>
                    <a:pt x="2071" y="16283"/>
                  </a:lnTo>
                  <a:cubicBezTo>
                    <a:pt x="2822" y="16261"/>
                    <a:pt x="3630" y="16562"/>
                    <a:pt x="4265" y="17215"/>
                  </a:cubicBezTo>
                  <a:cubicBezTo>
                    <a:pt x="4911" y="17878"/>
                    <a:pt x="5214" y="18725"/>
                    <a:pt x="5181" y="19504"/>
                  </a:cubicBezTo>
                  <a:cubicBezTo>
                    <a:pt x="5181" y="19504"/>
                    <a:pt x="2737" y="20164"/>
                    <a:pt x="2737" y="20164"/>
                  </a:cubicBezTo>
                  <a:close/>
                  <a:moveTo>
                    <a:pt x="6888" y="11179"/>
                  </a:moveTo>
                  <a:cubicBezTo>
                    <a:pt x="6280" y="10927"/>
                    <a:pt x="5642" y="10783"/>
                    <a:pt x="5004" y="10774"/>
                  </a:cubicBezTo>
                  <a:lnTo>
                    <a:pt x="10063" y="5536"/>
                  </a:lnTo>
                  <a:cubicBezTo>
                    <a:pt x="10838" y="4759"/>
                    <a:pt x="11966" y="4536"/>
                    <a:pt x="13077" y="4819"/>
                  </a:cubicBezTo>
                  <a:cubicBezTo>
                    <a:pt x="13077" y="4819"/>
                    <a:pt x="6888" y="11179"/>
                    <a:pt x="6888" y="11179"/>
                  </a:cubicBezTo>
                  <a:close/>
                  <a:moveTo>
                    <a:pt x="9717" y="13672"/>
                  </a:moveTo>
                  <a:cubicBezTo>
                    <a:pt x="9473" y="13258"/>
                    <a:pt x="9194" y="12859"/>
                    <a:pt x="8848" y="12505"/>
                  </a:cubicBezTo>
                  <a:cubicBezTo>
                    <a:pt x="8447" y="12093"/>
                    <a:pt x="7986" y="11770"/>
                    <a:pt x="7507" y="11498"/>
                  </a:cubicBezTo>
                  <a:lnTo>
                    <a:pt x="13767" y="5064"/>
                  </a:lnTo>
                  <a:cubicBezTo>
                    <a:pt x="14259" y="5288"/>
                    <a:pt x="14729" y="5607"/>
                    <a:pt x="15145" y="6035"/>
                  </a:cubicBezTo>
                  <a:cubicBezTo>
                    <a:pt x="15500" y="6398"/>
                    <a:pt x="15775" y="6806"/>
                    <a:pt x="15987" y="7229"/>
                  </a:cubicBezTo>
                  <a:cubicBezTo>
                    <a:pt x="15987" y="7229"/>
                    <a:pt x="9717" y="13672"/>
                    <a:pt x="9717" y="13672"/>
                  </a:cubicBezTo>
                  <a:close/>
                  <a:moveTo>
                    <a:pt x="10519" y="16061"/>
                  </a:moveTo>
                  <a:cubicBezTo>
                    <a:pt x="10465" y="15452"/>
                    <a:pt x="10298" y="14854"/>
                    <a:pt x="10047" y="14288"/>
                  </a:cubicBezTo>
                  <a:lnTo>
                    <a:pt x="16257" y="7906"/>
                  </a:lnTo>
                  <a:cubicBezTo>
                    <a:pt x="16637" y="9140"/>
                    <a:pt x="16442" y="10429"/>
                    <a:pt x="15610" y="11284"/>
                  </a:cubicBezTo>
                  <a:cubicBezTo>
                    <a:pt x="15604" y="11290"/>
                    <a:pt x="15598" y="11293"/>
                    <a:pt x="15593" y="11298"/>
                  </a:cubicBezTo>
                  <a:lnTo>
                    <a:pt x="15602" y="11306"/>
                  </a:lnTo>
                  <a:lnTo>
                    <a:pt x="10525" y="16565"/>
                  </a:lnTo>
                  <a:cubicBezTo>
                    <a:pt x="10527" y="16397"/>
                    <a:pt x="10534" y="16232"/>
                    <a:pt x="10519" y="16061"/>
                  </a:cubicBezTo>
                  <a:moveTo>
                    <a:pt x="19308" y="1741"/>
                  </a:moveTo>
                  <a:cubicBezTo>
                    <a:pt x="18228" y="632"/>
                    <a:pt x="16805" y="0"/>
                    <a:pt x="15403" y="0"/>
                  </a:cubicBezTo>
                  <a:cubicBezTo>
                    <a:pt x="14220" y="0"/>
                    <a:pt x="13131" y="450"/>
                    <a:pt x="12335" y="1266"/>
                  </a:cubicBezTo>
                  <a:lnTo>
                    <a:pt x="9138" y="4577"/>
                  </a:lnTo>
                  <a:cubicBezTo>
                    <a:pt x="9129" y="4585"/>
                    <a:pt x="9118" y="4592"/>
                    <a:pt x="9108" y="4602"/>
                  </a:cubicBezTo>
                  <a:cubicBezTo>
                    <a:pt x="9103" y="4608"/>
                    <a:pt x="9100" y="4614"/>
                    <a:pt x="9095" y="4620"/>
                  </a:cubicBezTo>
                  <a:lnTo>
                    <a:pt x="9096" y="4621"/>
                  </a:lnTo>
                  <a:lnTo>
                    <a:pt x="2310" y="11647"/>
                  </a:lnTo>
                  <a:cubicBezTo>
                    <a:pt x="1998" y="11966"/>
                    <a:pt x="1771" y="12364"/>
                    <a:pt x="1645" y="12797"/>
                  </a:cubicBezTo>
                  <a:lnTo>
                    <a:pt x="102" y="18541"/>
                  </a:lnTo>
                  <a:cubicBezTo>
                    <a:pt x="100" y="18557"/>
                    <a:pt x="0" y="19008"/>
                    <a:pt x="0" y="19237"/>
                  </a:cubicBezTo>
                  <a:cubicBezTo>
                    <a:pt x="0" y="20541"/>
                    <a:pt x="1030" y="21599"/>
                    <a:pt x="2302" y="21599"/>
                  </a:cubicBezTo>
                  <a:cubicBezTo>
                    <a:pt x="2554" y="21599"/>
                    <a:pt x="3044" y="21475"/>
                    <a:pt x="3062" y="21473"/>
                  </a:cubicBezTo>
                  <a:lnTo>
                    <a:pt x="8630" y="19969"/>
                  </a:lnTo>
                  <a:cubicBezTo>
                    <a:pt x="9054" y="19839"/>
                    <a:pt x="9439" y="19604"/>
                    <a:pt x="9750" y="19283"/>
                  </a:cubicBezTo>
                  <a:lnTo>
                    <a:pt x="19776" y="8899"/>
                  </a:lnTo>
                  <a:cubicBezTo>
                    <a:pt x="21600" y="7023"/>
                    <a:pt x="21394" y="3881"/>
                    <a:pt x="19308" y="1741"/>
                  </a:cubicBezTo>
                </a:path>
              </a:pathLst>
            </a:custGeom>
            <a:solidFill>
              <a:schemeClr val="bg1"/>
            </a:solidFill>
            <a:ln>
              <a:no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dirty="0">
                <a:solidFill>
                  <a:srgbClr val="FFFFFF"/>
                </a:solidFill>
                <a:effectLst>
                  <a:outerShdw blurRad="38100" dist="38100" dir="2700000" algn="tl">
                    <a:srgbClr val="000000"/>
                  </a:outerShdw>
                </a:effectLst>
                <a:latin typeface="Gill Sans" charset="0"/>
                <a:sym typeface="Gill Sans" charset="0"/>
              </a:endParaRPr>
            </a:p>
          </p:txBody>
        </p:sp>
      </p:grpSp>
      <p:grpSp>
        <p:nvGrpSpPr>
          <p:cNvPr id="42" name="Group 41">
            <a:extLst>
              <a:ext uri="{FF2B5EF4-FFF2-40B4-BE49-F238E27FC236}">
                <a16:creationId xmlns:a16="http://schemas.microsoft.com/office/drawing/2014/main" id="{411A8CCF-C045-43D5-BF9C-6363923096AF}"/>
              </a:ext>
            </a:extLst>
          </p:cNvPr>
          <p:cNvGrpSpPr/>
          <p:nvPr/>
        </p:nvGrpSpPr>
        <p:grpSpPr>
          <a:xfrm>
            <a:off x="3931271" y="1486850"/>
            <a:ext cx="2637368" cy="2286000"/>
            <a:chOff x="3817258" y="2429418"/>
            <a:chExt cx="2637368" cy="2286000"/>
          </a:xfrm>
        </p:grpSpPr>
        <p:sp>
          <p:nvSpPr>
            <p:cNvPr id="43" name="Freeform 31">
              <a:extLst>
                <a:ext uri="{FF2B5EF4-FFF2-40B4-BE49-F238E27FC236}">
                  <a16:creationId xmlns:a16="http://schemas.microsoft.com/office/drawing/2014/main" id="{D53038B9-0A1A-467F-9E56-3C7E7D0BB84B}"/>
                </a:ext>
              </a:extLst>
            </p:cNvPr>
            <p:cNvSpPr/>
            <p:nvPr/>
          </p:nvSpPr>
          <p:spPr>
            <a:xfrm rot="5400000">
              <a:off x="3992942" y="2253734"/>
              <a:ext cx="2286000" cy="2637368"/>
            </a:xfrm>
            <a:custGeom>
              <a:avLst/>
              <a:gdLst>
                <a:gd name="connsiteX0" fmla="*/ 0 w 2286000"/>
                <a:gd name="connsiteY0" fmla="*/ 2637368 h 2637368"/>
                <a:gd name="connsiteX1" fmla="*/ 0 w 2286000"/>
                <a:gd name="connsiteY1" fmla="*/ 351368 h 2637368"/>
                <a:gd name="connsiteX2" fmla="*/ 879475 w 2286000"/>
                <a:gd name="connsiteY2" fmla="*/ 351368 h 2637368"/>
                <a:gd name="connsiteX3" fmla="*/ 1143000 w 2286000"/>
                <a:gd name="connsiteY3" fmla="*/ 0 h 2637368"/>
                <a:gd name="connsiteX4" fmla="*/ 1406525 w 2286000"/>
                <a:gd name="connsiteY4" fmla="*/ 351368 h 2637368"/>
                <a:gd name="connsiteX5" fmla="*/ 2286000 w 2286000"/>
                <a:gd name="connsiteY5" fmla="*/ 351368 h 2637368"/>
                <a:gd name="connsiteX6" fmla="*/ 2286000 w 2286000"/>
                <a:gd name="connsiteY6" fmla="*/ 2637368 h 263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86000" h="2637368">
                  <a:moveTo>
                    <a:pt x="0" y="2637368"/>
                  </a:moveTo>
                  <a:lnTo>
                    <a:pt x="0" y="351368"/>
                  </a:lnTo>
                  <a:lnTo>
                    <a:pt x="879475" y="351368"/>
                  </a:lnTo>
                  <a:lnTo>
                    <a:pt x="1143000" y="0"/>
                  </a:lnTo>
                  <a:lnTo>
                    <a:pt x="1406525" y="351368"/>
                  </a:lnTo>
                  <a:lnTo>
                    <a:pt x="2286000" y="351368"/>
                  </a:lnTo>
                  <a:lnTo>
                    <a:pt x="2286000" y="2637368"/>
                  </a:ln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Rectangle 43">
              <a:extLst>
                <a:ext uri="{FF2B5EF4-FFF2-40B4-BE49-F238E27FC236}">
                  <a16:creationId xmlns:a16="http://schemas.microsoft.com/office/drawing/2014/main" id="{E3A1FF6F-DA6F-40AD-8DC1-7558294E869E}"/>
                </a:ext>
              </a:extLst>
            </p:cNvPr>
            <p:cNvSpPr/>
            <p:nvPr/>
          </p:nvSpPr>
          <p:spPr>
            <a:xfrm>
              <a:off x="4166414" y="3808372"/>
              <a:ext cx="1891235" cy="568489"/>
            </a:xfrm>
            <a:prstGeom prst="rect">
              <a:avLst/>
            </a:prstGeom>
          </p:spPr>
          <p:txBody>
            <a:bodyPr wrap="square">
              <a:spAutoFit/>
            </a:bodyPr>
            <a:lstStyle/>
            <a:p>
              <a:pPr>
                <a:lnSpc>
                  <a:spcPct val="114000"/>
                </a:lnSpc>
                <a:defRPr/>
              </a:pPr>
              <a:r>
                <a:rPr lang="en-US" sz="1400" dirty="0">
                  <a:solidFill>
                    <a:schemeClr val="bg1"/>
                  </a:solidFill>
                  <a:cs typeface="Segoe UI Semibold" panose="020B0702040204020203" pitchFamily="34" charset="0"/>
                </a:rPr>
                <a:t>Tuition Rewards </a:t>
              </a:r>
            </a:p>
            <a:p>
              <a:pPr>
                <a:lnSpc>
                  <a:spcPct val="114000"/>
                </a:lnSpc>
                <a:defRPr/>
              </a:pPr>
              <a:r>
                <a:rPr lang="en-US" sz="1400" dirty="0">
                  <a:solidFill>
                    <a:schemeClr val="bg1"/>
                  </a:solidFill>
                  <a:cs typeface="Segoe UI Semibold" panose="020B0702040204020203" pitchFamily="34" charset="0"/>
                </a:rPr>
                <a:t>Accrue Annually</a:t>
              </a:r>
            </a:p>
          </p:txBody>
        </p:sp>
        <p:sp>
          <p:nvSpPr>
            <p:cNvPr id="45" name="AutoShape 113">
              <a:extLst>
                <a:ext uri="{FF2B5EF4-FFF2-40B4-BE49-F238E27FC236}">
                  <a16:creationId xmlns:a16="http://schemas.microsoft.com/office/drawing/2014/main" id="{4239A3D7-28A7-4B3A-A04E-A169FA90100A}"/>
                </a:ext>
              </a:extLst>
            </p:cNvPr>
            <p:cNvSpPr>
              <a:spLocks/>
            </p:cNvSpPr>
            <p:nvPr/>
          </p:nvSpPr>
          <p:spPr bwMode="auto">
            <a:xfrm>
              <a:off x="4422797" y="2979173"/>
              <a:ext cx="446479" cy="65083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5386" y="14175"/>
                  </a:moveTo>
                  <a:lnTo>
                    <a:pt x="6223" y="14175"/>
                  </a:lnTo>
                  <a:cubicBezTo>
                    <a:pt x="5734" y="13446"/>
                    <a:pt x="5147" y="12716"/>
                    <a:pt x="4568" y="12003"/>
                  </a:cubicBezTo>
                  <a:cubicBezTo>
                    <a:pt x="3287" y="10427"/>
                    <a:pt x="1963" y="8797"/>
                    <a:pt x="1963" y="7425"/>
                  </a:cubicBezTo>
                  <a:cubicBezTo>
                    <a:pt x="1963" y="4075"/>
                    <a:pt x="5927" y="1350"/>
                    <a:pt x="10800" y="1350"/>
                  </a:cubicBezTo>
                  <a:cubicBezTo>
                    <a:pt x="15672" y="1350"/>
                    <a:pt x="19636" y="4075"/>
                    <a:pt x="19636" y="7425"/>
                  </a:cubicBezTo>
                  <a:cubicBezTo>
                    <a:pt x="19636" y="8787"/>
                    <a:pt x="18312" y="10425"/>
                    <a:pt x="17029" y="12011"/>
                  </a:cubicBezTo>
                  <a:cubicBezTo>
                    <a:pt x="16455" y="12723"/>
                    <a:pt x="15873" y="13449"/>
                    <a:pt x="15386" y="14175"/>
                  </a:cubicBezTo>
                  <a:moveTo>
                    <a:pt x="10800" y="20249"/>
                  </a:moveTo>
                  <a:cubicBezTo>
                    <a:pt x="9805" y="20249"/>
                    <a:pt x="9347" y="20171"/>
                    <a:pt x="8839" y="19406"/>
                  </a:cubicBezTo>
                  <a:lnTo>
                    <a:pt x="13000" y="19048"/>
                  </a:lnTo>
                  <a:cubicBezTo>
                    <a:pt x="12398" y="20164"/>
                    <a:pt x="11959" y="20249"/>
                    <a:pt x="10800" y="20249"/>
                  </a:cubicBezTo>
                  <a:moveTo>
                    <a:pt x="7595" y="16813"/>
                  </a:moveTo>
                  <a:cubicBezTo>
                    <a:pt x="7417" y="16407"/>
                    <a:pt x="7215" y="15978"/>
                    <a:pt x="6991" y="15525"/>
                  </a:cubicBezTo>
                  <a:lnTo>
                    <a:pt x="14616" y="15525"/>
                  </a:lnTo>
                  <a:cubicBezTo>
                    <a:pt x="14496" y="15767"/>
                    <a:pt x="14375" y="16010"/>
                    <a:pt x="14270" y="16239"/>
                  </a:cubicBezTo>
                  <a:cubicBezTo>
                    <a:pt x="14270" y="16239"/>
                    <a:pt x="7595" y="16813"/>
                    <a:pt x="7595" y="16813"/>
                  </a:cubicBezTo>
                  <a:close/>
                  <a:moveTo>
                    <a:pt x="13345" y="18343"/>
                  </a:moveTo>
                  <a:lnTo>
                    <a:pt x="8476" y="18762"/>
                  </a:lnTo>
                  <a:cubicBezTo>
                    <a:pt x="8303" y="18416"/>
                    <a:pt x="8116" y="18011"/>
                    <a:pt x="7890" y="17483"/>
                  </a:cubicBezTo>
                  <a:cubicBezTo>
                    <a:pt x="7887" y="17477"/>
                    <a:pt x="7883" y="17469"/>
                    <a:pt x="7881" y="17462"/>
                  </a:cubicBezTo>
                  <a:lnTo>
                    <a:pt x="13957" y="16941"/>
                  </a:lnTo>
                  <a:cubicBezTo>
                    <a:pt x="13871" y="17140"/>
                    <a:pt x="13778" y="17350"/>
                    <a:pt x="13698" y="17537"/>
                  </a:cubicBezTo>
                  <a:cubicBezTo>
                    <a:pt x="13569" y="17841"/>
                    <a:pt x="13453" y="18104"/>
                    <a:pt x="13345" y="18343"/>
                  </a:cubicBezTo>
                  <a:moveTo>
                    <a:pt x="10800" y="0"/>
                  </a:moveTo>
                  <a:cubicBezTo>
                    <a:pt x="4835" y="0"/>
                    <a:pt x="0" y="3324"/>
                    <a:pt x="0" y="7425"/>
                  </a:cubicBezTo>
                  <a:cubicBezTo>
                    <a:pt x="0" y="10146"/>
                    <a:pt x="3621" y="13029"/>
                    <a:pt x="4939" y="15562"/>
                  </a:cubicBezTo>
                  <a:cubicBezTo>
                    <a:pt x="6906" y="19339"/>
                    <a:pt x="6688" y="21599"/>
                    <a:pt x="10800" y="21599"/>
                  </a:cubicBezTo>
                  <a:cubicBezTo>
                    <a:pt x="14972" y="21599"/>
                    <a:pt x="14692" y="19349"/>
                    <a:pt x="16660" y="15577"/>
                  </a:cubicBezTo>
                  <a:cubicBezTo>
                    <a:pt x="17983" y="13039"/>
                    <a:pt x="21600" y="10124"/>
                    <a:pt x="21600" y="7425"/>
                  </a:cubicBezTo>
                  <a:cubicBezTo>
                    <a:pt x="21600" y="3324"/>
                    <a:pt x="16764" y="0"/>
                    <a:pt x="10800" y="0"/>
                  </a:cubicBezTo>
                </a:path>
              </a:pathLst>
            </a:custGeom>
            <a:solidFill>
              <a:schemeClr val="bg1"/>
            </a:solidFill>
            <a:ln>
              <a:no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dirty="0">
                <a:solidFill>
                  <a:srgbClr val="FFFFFF"/>
                </a:solidFill>
                <a:effectLst>
                  <a:outerShdw blurRad="38100" dist="38100" dir="2700000" algn="tl">
                    <a:srgbClr val="000000"/>
                  </a:outerShdw>
                </a:effectLst>
                <a:latin typeface="Gill Sans" charset="0"/>
                <a:sym typeface="Gill Sans" charset="0"/>
              </a:endParaRPr>
            </a:p>
          </p:txBody>
        </p:sp>
      </p:grpSp>
      <p:grpSp>
        <p:nvGrpSpPr>
          <p:cNvPr id="46" name="Group 45">
            <a:extLst>
              <a:ext uri="{FF2B5EF4-FFF2-40B4-BE49-F238E27FC236}">
                <a16:creationId xmlns:a16="http://schemas.microsoft.com/office/drawing/2014/main" id="{349B7B0A-B923-48E5-9594-373A667455F8}"/>
              </a:ext>
            </a:extLst>
          </p:cNvPr>
          <p:cNvGrpSpPr/>
          <p:nvPr/>
        </p:nvGrpSpPr>
        <p:grpSpPr>
          <a:xfrm>
            <a:off x="1648775" y="1486850"/>
            <a:ext cx="2637368" cy="2286000"/>
            <a:chOff x="1545773" y="2429418"/>
            <a:chExt cx="2637368" cy="2286000"/>
          </a:xfrm>
        </p:grpSpPr>
        <p:sp>
          <p:nvSpPr>
            <p:cNvPr id="47" name="Freeform 35">
              <a:extLst>
                <a:ext uri="{FF2B5EF4-FFF2-40B4-BE49-F238E27FC236}">
                  <a16:creationId xmlns:a16="http://schemas.microsoft.com/office/drawing/2014/main" id="{1895C5FA-3863-41B3-BBF3-C6327B3A4F2E}"/>
                </a:ext>
              </a:extLst>
            </p:cNvPr>
            <p:cNvSpPr/>
            <p:nvPr/>
          </p:nvSpPr>
          <p:spPr>
            <a:xfrm rot="5400000">
              <a:off x="1721457" y="2253734"/>
              <a:ext cx="2286000" cy="2637368"/>
            </a:xfrm>
            <a:custGeom>
              <a:avLst/>
              <a:gdLst>
                <a:gd name="connsiteX0" fmla="*/ 0 w 2286000"/>
                <a:gd name="connsiteY0" fmla="*/ 2637368 h 2637368"/>
                <a:gd name="connsiteX1" fmla="*/ 0 w 2286000"/>
                <a:gd name="connsiteY1" fmla="*/ 351368 h 2637368"/>
                <a:gd name="connsiteX2" fmla="*/ 879475 w 2286000"/>
                <a:gd name="connsiteY2" fmla="*/ 351368 h 2637368"/>
                <a:gd name="connsiteX3" fmla="*/ 1143000 w 2286000"/>
                <a:gd name="connsiteY3" fmla="*/ 0 h 2637368"/>
                <a:gd name="connsiteX4" fmla="*/ 1406525 w 2286000"/>
                <a:gd name="connsiteY4" fmla="*/ 351368 h 2637368"/>
                <a:gd name="connsiteX5" fmla="*/ 2286000 w 2286000"/>
                <a:gd name="connsiteY5" fmla="*/ 351368 h 2637368"/>
                <a:gd name="connsiteX6" fmla="*/ 2286000 w 2286000"/>
                <a:gd name="connsiteY6" fmla="*/ 2637368 h 263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86000" h="2637368">
                  <a:moveTo>
                    <a:pt x="0" y="2637368"/>
                  </a:moveTo>
                  <a:lnTo>
                    <a:pt x="0" y="351368"/>
                  </a:lnTo>
                  <a:lnTo>
                    <a:pt x="879475" y="351368"/>
                  </a:lnTo>
                  <a:lnTo>
                    <a:pt x="1143000" y="0"/>
                  </a:lnTo>
                  <a:lnTo>
                    <a:pt x="1406525" y="351368"/>
                  </a:lnTo>
                  <a:lnTo>
                    <a:pt x="2286000" y="351368"/>
                  </a:lnTo>
                  <a:lnTo>
                    <a:pt x="2286000" y="2637368"/>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Rectangle 47">
              <a:extLst>
                <a:ext uri="{FF2B5EF4-FFF2-40B4-BE49-F238E27FC236}">
                  <a16:creationId xmlns:a16="http://schemas.microsoft.com/office/drawing/2014/main" id="{0C7FB82E-BE8D-47F5-A609-66CC2E826165}"/>
                </a:ext>
              </a:extLst>
            </p:cNvPr>
            <p:cNvSpPr/>
            <p:nvPr/>
          </p:nvSpPr>
          <p:spPr>
            <a:xfrm>
              <a:off x="1824012" y="3808372"/>
              <a:ext cx="1827957" cy="568489"/>
            </a:xfrm>
            <a:prstGeom prst="rect">
              <a:avLst/>
            </a:prstGeom>
          </p:spPr>
          <p:txBody>
            <a:bodyPr wrap="square">
              <a:spAutoFit/>
            </a:bodyPr>
            <a:lstStyle/>
            <a:p>
              <a:pPr>
                <a:lnSpc>
                  <a:spcPct val="114000"/>
                </a:lnSpc>
                <a:defRPr/>
              </a:pPr>
              <a:r>
                <a:rPr lang="en-US" sz="1400" dirty="0">
                  <a:solidFill>
                    <a:schemeClr val="bg1"/>
                  </a:solidFill>
                  <a:cs typeface="Segoe UI Semibold" panose="020B0702040204020203" pitchFamily="34" charset="0"/>
                </a:rPr>
                <a:t>Create a Tuition Rewards Account</a:t>
              </a:r>
            </a:p>
          </p:txBody>
        </p:sp>
        <p:grpSp>
          <p:nvGrpSpPr>
            <p:cNvPr id="49" name="Group 48">
              <a:extLst>
                <a:ext uri="{FF2B5EF4-FFF2-40B4-BE49-F238E27FC236}">
                  <a16:creationId xmlns:a16="http://schemas.microsoft.com/office/drawing/2014/main" id="{14DCE33C-A91C-40BA-BCE3-45CC0D160F82}"/>
                </a:ext>
              </a:extLst>
            </p:cNvPr>
            <p:cNvGrpSpPr/>
            <p:nvPr/>
          </p:nvGrpSpPr>
          <p:grpSpPr>
            <a:xfrm>
              <a:off x="1927974" y="2979729"/>
              <a:ext cx="649722" cy="649722"/>
              <a:chOff x="3498967" y="3049909"/>
              <a:chExt cx="464344" cy="464344"/>
            </a:xfrm>
            <a:solidFill>
              <a:schemeClr val="bg1"/>
            </a:solidFill>
          </p:grpSpPr>
          <p:sp>
            <p:nvSpPr>
              <p:cNvPr id="50" name="AutoShape 126">
                <a:extLst>
                  <a:ext uri="{FF2B5EF4-FFF2-40B4-BE49-F238E27FC236}">
                    <a16:creationId xmlns:a16="http://schemas.microsoft.com/office/drawing/2014/main" id="{ECFB4235-1E96-442A-BC94-4DA7D0786C50}"/>
                  </a:ext>
                </a:extLst>
              </p:cNvPr>
              <p:cNvSpPr>
                <a:spLocks/>
              </p:cNvSpPr>
              <p:nvPr/>
            </p:nvSpPr>
            <p:spPr bwMode="auto">
              <a:xfrm>
                <a:off x="3498967" y="3049909"/>
                <a:ext cx="464344"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3499" y="14850"/>
                    </a:moveTo>
                    <a:cubicBezTo>
                      <a:pt x="9772" y="14850"/>
                      <a:pt x="6749" y="11827"/>
                      <a:pt x="6749" y="8100"/>
                    </a:cubicBezTo>
                    <a:cubicBezTo>
                      <a:pt x="6749" y="4372"/>
                      <a:pt x="9772" y="1350"/>
                      <a:pt x="13499" y="1350"/>
                    </a:cubicBezTo>
                    <a:cubicBezTo>
                      <a:pt x="17227" y="1350"/>
                      <a:pt x="20249" y="4372"/>
                      <a:pt x="20249" y="8100"/>
                    </a:cubicBezTo>
                    <a:cubicBezTo>
                      <a:pt x="20249" y="11827"/>
                      <a:pt x="17227" y="14850"/>
                      <a:pt x="13499" y="14850"/>
                    </a:cubicBezTo>
                    <a:moveTo>
                      <a:pt x="3236" y="20042"/>
                    </a:moveTo>
                    <a:cubicBezTo>
                      <a:pt x="3019" y="20266"/>
                      <a:pt x="2718" y="20408"/>
                      <a:pt x="2382" y="20408"/>
                    </a:cubicBezTo>
                    <a:cubicBezTo>
                      <a:pt x="1724" y="20408"/>
                      <a:pt x="1191" y="19875"/>
                      <a:pt x="1191" y="19218"/>
                    </a:cubicBezTo>
                    <a:cubicBezTo>
                      <a:pt x="1191" y="18881"/>
                      <a:pt x="1332" y="18580"/>
                      <a:pt x="1557" y="18363"/>
                    </a:cubicBezTo>
                    <a:lnTo>
                      <a:pt x="1551" y="18358"/>
                    </a:lnTo>
                    <a:lnTo>
                      <a:pt x="6996" y="12913"/>
                    </a:lnTo>
                    <a:cubicBezTo>
                      <a:pt x="7472" y="13555"/>
                      <a:pt x="8039" y="14122"/>
                      <a:pt x="8680" y="14599"/>
                    </a:cubicBezTo>
                    <a:cubicBezTo>
                      <a:pt x="8680" y="14599"/>
                      <a:pt x="3236" y="20042"/>
                      <a:pt x="3236" y="20042"/>
                    </a:cubicBezTo>
                    <a:close/>
                    <a:moveTo>
                      <a:pt x="13499" y="0"/>
                    </a:moveTo>
                    <a:cubicBezTo>
                      <a:pt x="9026" y="0"/>
                      <a:pt x="5399" y="3626"/>
                      <a:pt x="5399" y="8100"/>
                    </a:cubicBezTo>
                    <a:cubicBezTo>
                      <a:pt x="5399" y="9467"/>
                      <a:pt x="5742" y="10754"/>
                      <a:pt x="6341" y="11884"/>
                    </a:cubicBezTo>
                    <a:lnTo>
                      <a:pt x="709" y="17515"/>
                    </a:lnTo>
                    <a:lnTo>
                      <a:pt x="713" y="17520"/>
                    </a:lnTo>
                    <a:cubicBezTo>
                      <a:pt x="274" y="17953"/>
                      <a:pt x="0" y="18552"/>
                      <a:pt x="0" y="19218"/>
                    </a:cubicBezTo>
                    <a:cubicBezTo>
                      <a:pt x="0" y="20533"/>
                      <a:pt x="1066" y="21599"/>
                      <a:pt x="2382" y="21599"/>
                    </a:cubicBezTo>
                    <a:cubicBezTo>
                      <a:pt x="3047" y="21599"/>
                      <a:pt x="3647" y="21326"/>
                      <a:pt x="4079" y="20885"/>
                    </a:cubicBezTo>
                    <a:lnTo>
                      <a:pt x="4078" y="20884"/>
                    </a:lnTo>
                    <a:lnTo>
                      <a:pt x="9708" y="15255"/>
                    </a:lnTo>
                    <a:cubicBezTo>
                      <a:pt x="10839" y="15856"/>
                      <a:pt x="12128" y="16200"/>
                      <a:pt x="13499" y="16200"/>
                    </a:cubicBezTo>
                    <a:cubicBezTo>
                      <a:pt x="17973" y="16200"/>
                      <a:pt x="21600" y="12573"/>
                      <a:pt x="21600" y="8100"/>
                    </a:cubicBezTo>
                    <a:cubicBezTo>
                      <a:pt x="21600" y="3626"/>
                      <a:pt x="17973" y="0"/>
                      <a:pt x="13499" y="0"/>
                    </a:cubicBezTo>
                  </a:path>
                </a:pathLst>
              </a:custGeom>
              <a:grpFill/>
              <a:ln>
                <a:no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dirty="0">
                  <a:solidFill>
                    <a:srgbClr val="FFFFFF"/>
                  </a:solidFill>
                  <a:effectLst>
                    <a:outerShdw blurRad="38100" dist="38100" dir="2700000" algn="tl">
                      <a:srgbClr val="000000"/>
                    </a:outerShdw>
                  </a:effectLst>
                  <a:latin typeface="Gill Sans" charset="0"/>
                  <a:sym typeface="Gill Sans" charset="0"/>
                </a:endParaRPr>
              </a:p>
            </p:txBody>
          </p:sp>
          <p:sp>
            <p:nvSpPr>
              <p:cNvPr id="51" name="AutoShape 127">
                <a:extLst>
                  <a:ext uri="{FF2B5EF4-FFF2-40B4-BE49-F238E27FC236}">
                    <a16:creationId xmlns:a16="http://schemas.microsoft.com/office/drawing/2014/main" id="{E57DF31D-F56C-48E1-B68F-B62EB80BA7AD}"/>
                  </a:ext>
                </a:extLst>
              </p:cNvPr>
              <p:cNvSpPr>
                <a:spLocks/>
              </p:cNvSpPr>
              <p:nvPr/>
            </p:nvSpPr>
            <p:spPr bwMode="auto">
              <a:xfrm>
                <a:off x="3687085" y="3122140"/>
                <a:ext cx="109538" cy="1087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160" y="0"/>
                    </a:moveTo>
                    <a:cubicBezTo>
                      <a:pt x="9025" y="0"/>
                      <a:pt x="0" y="9025"/>
                      <a:pt x="0" y="20160"/>
                    </a:cubicBezTo>
                    <a:cubicBezTo>
                      <a:pt x="0" y="20954"/>
                      <a:pt x="644" y="21600"/>
                      <a:pt x="1440" y="21600"/>
                    </a:cubicBezTo>
                    <a:cubicBezTo>
                      <a:pt x="2235" y="21600"/>
                      <a:pt x="2880" y="20954"/>
                      <a:pt x="2880" y="20160"/>
                    </a:cubicBezTo>
                    <a:cubicBezTo>
                      <a:pt x="2880" y="10618"/>
                      <a:pt x="10617" y="2880"/>
                      <a:pt x="20160" y="2880"/>
                    </a:cubicBezTo>
                    <a:cubicBezTo>
                      <a:pt x="20955" y="2880"/>
                      <a:pt x="21599" y="2234"/>
                      <a:pt x="21599" y="1440"/>
                    </a:cubicBezTo>
                    <a:cubicBezTo>
                      <a:pt x="21599" y="645"/>
                      <a:pt x="20955" y="0"/>
                      <a:pt x="20160" y="0"/>
                    </a:cubicBezTo>
                  </a:path>
                </a:pathLst>
              </a:custGeom>
              <a:grpFill/>
              <a:ln>
                <a:no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dirty="0">
                  <a:solidFill>
                    <a:srgbClr val="FFFFFF"/>
                  </a:solidFill>
                  <a:effectLst>
                    <a:outerShdw blurRad="38100" dist="38100" dir="2700000" algn="tl">
                      <a:srgbClr val="000000"/>
                    </a:outerShdw>
                  </a:effectLst>
                  <a:latin typeface="Gill Sans" charset="0"/>
                  <a:sym typeface="Gill Sans" charset="0"/>
                </a:endParaRPr>
              </a:p>
            </p:txBody>
          </p:sp>
        </p:grpSp>
      </p:grpSp>
      <p:sp>
        <p:nvSpPr>
          <p:cNvPr id="52" name="Rectangle 51">
            <a:extLst>
              <a:ext uri="{FF2B5EF4-FFF2-40B4-BE49-F238E27FC236}">
                <a16:creationId xmlns:a16="http://schemas.microsoft.com/office/drawing/2014/main" id="{73F263DD-7AF2-4BD2-84CC-BB7E8BE5FC2E}"/>
              </a:ext>
            </a:extLst>
          </p:cNvPr>
          <p:cNvSpPr/>
          <p:nvPr/>
        </p:nvSpPr>
        <p:spPr>
          <a:xfrm>
            <a:off x="1647860" y="3874379"/>
            <a:ext cx="9175715" cy="2292935"/>
          </a:xfrm>
          <a:prstGeom prst="rect">
            <a:avLst/>
          </a:prstGeom>
        </p:spPr>
        <p:txBody>
          <a:bodyPr wrap="square">
            <a:spAutoFit/>
          </a:bodyPr>
          <a:lstStyle/>
          <a:p>
            <a:pPr>
              <a:spcAft>
                <a:spcPts val="600"/>
              </a:spcAft>
              <a:defRPr/>
            </a:pPr>
            <a:r>
              <a:rPr lang="en-US" sz="1600" b="1" dirty="0">
                <a:cs typeface="Segoe UI Semibold" panose="020B0502040204020203" pitchFamily="34" charset="0"/>
              </a:rPr>
              <a:t>To get started </a:t>
            </a:r>
            <a:r>
              <a:rPr lang="en-US" sz="1600" dirty="0">
                <a:cs typeface="Segoe UI" panose="020B0502040204020203" pitchFamily="34" charset="0"/>
              </a:rPr>
              <a:t>– Client creates a Tuition Rewards account and adds a student</a:t>
            </a:r>
          </a:p>
          <a:p>
            <a:pPr>
              <a:spcAft>
                <a:spcPts val="600"/>
              </a:spcAft>
              <a:defRPr/>
            </a:pPr>
            <a:r>
              <a:rPr lang="en-US" sz="1600" dirty="0">
                <a:cs typeface="Segoe UI" panose="020B0502040204020203" pitchFamily="34" charset="0"/>
              </a:rPr>
              <a:t>There are just a couple of </a:t>
            </a:r>
            <a:r>
              <a:rPr lang="en-US" sz="1600" b="1" dirty="0">
                <a:cs typeface="Segoe UI Semibold" panose="020B0502040204020203" pitchFamily="34" charset="0"/>
              </a:rPr>
              <a:t>program deadlines </a:t>
            </a:r>
            <a:r>
              <a:rPr lang="en-US" sz="1600" dirty="0">
                <a:cs typeface="Segoe UI" panose="020B0502040204020203" pitchFamily="34" charset="0"/>
              </a:rPr>
              <a:t>– </a:t>
            </a:r>
          </a:p>
          <a:p>
            <a:pPr marL="342900" indent="-342900">
              <a:spcAft>
                <a:spcPts val="600"/>
              </a:spcAft>
              <a:buFont typeface="+mj-lt"/>
              <a:buAutoNum type="arabicPeriod"/>
              <a:defRPr/>
            </a:pPr>
            <a:r>
              <a:rPr lang="en-US" sz="1500" dirty="0">
                <a:cs typeface="Segoe UI" panose="020B0502040204020203" pitchFamily="34" charset="0"/>
              </a:rPr>
              <a:t>Ensure students are registered and Rewards are transferred prior to </a:t>
            </a:r>
            <a:r>
              <a:rPr lang="en-US" sz="1500" b="1" dirty="0">
                <a:cs typeface="Segoe UI Semibold" panose="020B0502040204020203" pitchFamily="34" charset="0"/>
              </a:rPr>
              <a:t>August 31</a:t>
            </a:r>
            <a:r>
              <a:rPr lang="en-US" sz="1500" b="1" baseline="30000" dirty="0">
                <a:cs typeface="Segoe UI Semibold" panose="020B0502040204020203" pitchFamily="34" charset="0"/>
              </a:rPr>
              <a:t>st</a:t>
            </a:r>
            <a:r>
              <a:rPr lang="en-US" sz="1500" b="1" dirty="0">
                <a:cs typeface="Segoe UI Semibold" panose="020B0502040204020203" pitchFamily="34" charset="0"/>
              </a:rPr>
              <a:t> </a:t>
            </a:r>
            <a:r>
              <a:rPr lang="en-US" sz="1500" dirty="0">
                <a:cs typeface="Segoe UI" panose="020B0502040204020203" pitchFamily="34" charset="0"/>
              </a:rPr>
              <a:t>of the year they begin 12</a:t>
            </a:r>
            <a:r>
              <a:rPr lang="en-US" sz="1500" baseline="30000" dirty="0">
                <a:cs typeface="Segoe UI" panose="020B0502040204020203" pitchFamily="34" charset="0"/>
              </a:rPr>
              <a:t>th</a:t>
            </a:r>
            <a:r>
              <a:rPr lang="en-US" sz="1500" dirty="0">
                <a:cs typeface="Segoe UI" panose="020B0502040204020203" pitchFamily="34" charset="0"/>
              </a:rPr>
              <a:t> grade. Students cannot earn or receive points after August 31</a:t>
            </a:r>
            <a:r>
              <a:rPr lang="en-US" sz="1500" baseline="30000" dirty="0">
                <a:cs typeface="Segoe UI" panose="020B0502040204020203" pitchFamily="34" charset="0"/>
              </a:rPr>
              <a:t>st </a:t>
            </a:r>
            <a:r>
              <a:rPr lang="en-US" sz="1500" dirty="0">
                <a:cs typeface="Segoe UI" panose="020B0502040204020203" pitchFamily="34" charset="0"/>
              </a:rPr>
              <a:t>of the year that the student begins 12</a:t>
            </a:r>
            <a:r>
              <a:rPr lang="en-US" sz="1500" baseline="30000" dirty="0">
                <a:cs typeface="Segoe UI" panose="020B0502040204020203" pitchFamily="34" charset="0"/>
              </a:rPr>
              <a:t>th</a:t>
            </a:r>
            <a:r>
              <a:rPr lang="en-US" sz="1500" dirty="0">
                <a:cs typeface="Segoe UI" panose="020B0502040204020203" pitchFamily="34" charset="0"/>
              </a:rPr>
              <a:t> grade. </a:t>
            </a:r>
          </a:p>
          <a:p>
            <a:pPr marL="342900" indent="-342900">
              <a:spcAft>
                <a:spcPts val="600"/>
              </a:spcAft>
              <a:buFont typeface="+mj-lt"/>
              <a:buAutoNum type="arabicPeriod"/>
              <a:defRPr/>
            </a:pPr>
            <a:r>
              <a:rPr lang="en-US" sz="1500" dirty="0">
                <a:cs typeface="Segoe UI" panose="020B0502040204020203" pitchFamily="34" charset="0"/>
              </a:rPr>
              <a:t>When a student applies to a participating college or university, electronically submit the students Tuition Rewards statement to the school </a:t>
            </a:r>
            <a:r>
              <a:rPr lang="en-US" sz="1500" b="1" dirty="0">
                <a:cs typeface="Segoe UI Semibold" panose="020B0502040204020203" pitchFamily="34" charset="0"/>
              </a:rPr>
              <a:t>within ten days of applying</a:t>
            </a:r>
            <a:r>
              <a:rPr lang="en-US" sz="1500" dirty="0">
                <a:cs typeface="Segoe UI" panose="020B0502040204020203" pitchFamily="34" charset="0"/>
              </a:rPr>
              <a:t>. </a:t>
            </a:r>
          </a:p>
          <a:p>
            <a:pPr>
              <a:spcAft>
                <a:spcPts val="600"/>
              </a:spcAft>
              <a:defRPr/>
            </a:pPr>
            <a:r>
              <a:rPr lang="en-US" sz="1600" dirty="0">
                <a:cs typeface="Segoe UI" panose="020B0502040204020203" pitchFamily="34" charset="0"/>
              </a:rPr>
              <a:t>We always send </a:t>
            </a:r>
            <a:r>
              <a:rPr lang="en-US" sz="1600" b="1" dirty="0">
                <a:cs typeface="Segoe UI Semibold" panose="020B0502040204020203" pitchFamily="34" charset="0"/>
              </a:rPr>
              <a:t>reminder emails </a:t>
            </a:r>
            <a:r>
              <a:rPr lang="en-US" sz="1600" dirty="0">
                <a:cs typeface="Segoe UI" panose="020B0502040204020203" pitchFamily="34" charset="0"/>
              </a:rPr>
              <a:t>to keep clients informed and ready for upcoming deadlines.</a:t>
            </a:r>
          </a:p>
        </p:txBody>
      </p:sp>
      <p:sp>
        <p:nvSpPr>
          <p:cNvPr id="53" name="Text Placeholder 24">
            <a:extLst>
              <a:ext uri="{FF2B5EF4-FFF2-40B4-BE49-F238E27FC236}">
                <a16:creationId xmlns:a16="http://schemas.microsoft.com/office/drawing/2014/main" id="{BB0D0377-125C-4821-8233-3989625015C8}"/>
              </a:ext>
            </a:extLst>
          </p:cNvPr>
          <p:cNvSpPr txBox="1">
            <a:spLocks/>
          </p:cNvSpPr>
          <p:nvPr/>
        </p:nvSpPr>
        <p:spPr>
          <a:xfrm>
            <a:off x="2581010" y="1044262"/>
            <a:ext cx="7214219" cy="307777"/>
          </a:xfrm>
          <a:prstGeom prst="rect">
            <a:avLst/>
          </a:prstGeom>
        </p:spPr>
        <p:txBody>
          <a:bodyPr vert="horz" wrap="none" lIns="0" tIns="0" rIns="0" bIns="0" rtlCol="0" anchor="ctr">
            <a:spAutoFit/>
          </a:bodyPr>
          <a:lstStyle>
            <a:defPPr>
              <a:defRPr lang="en-US"/>
            </a:defPPr>
            <a:lvl1pPr marL="0" algn="r" defTabSz="914400" rtl="0" eaLnBrk="1" latinLnBrk="0" hangingPunct="1">
              <a:lnSpc>
                <a:spcPct val="100000"/>
              </a:lnSpc>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dirty="0">
                <a:solidFill>
                  <a:schemeClr val="tx1"/>
                </a:solidFill>
              </a:rPr>
              <a:t>It’s easy, and we are here with you every step of the way</a:t>
            </a:r>
          </a:p>
        </p:txBody>
      </p:sp>
      <p:pic>
        <p:nvPicPr>
          <p:cNvPr id="4" name="Picture 3">
            <a:extLst>
              <a:ext uri="{FF2B5EF4-FFF2-40B4-BE49-F238E27FC236}">
                <a16:creationId xmlns:a16="http://schemas.microsoft.com/office/drawing/2014/main" id="{B783A9D2-E287-740A-3A10-8DD83785F5C2}"/>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065981" y="6208866"/>
            <a:ext cx="1515188" cy="627328"/>
          </a:xfrm>
          <a:prstGeom prst="rect">
            <a:avLst/>
          </a:prstGeom>
        </p:spPr>
      </p:pic>
    </p:spTree>
    <p:extLst>
      <p:ext uri="{BB962C8B-B14F-4D97-AF65-F5344CB8AC3E}">
        <p14:creationId xmlns:p14="http://schemas.microsoft.com/office/powerpoint/2010/main" val="40984445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after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750" fill="hold"/>
                                        <p:tgtEl>
                                          <p:spTgt spid="31"/>
                                        </p:tgtEl>
                                        <p:attrNameLst>
                                          <p:attrName>ppt_x</p:attrName>
                                        </p:attrNameLst>
                                      </p:cBhvr>
                                      <p:tavLst>
                                        <p:tav tm="0">
                                          <p:val>
                                            <p:strVal val="1+#ppt_w/2"/>
                                          </p:val>
                                        </p:tav>
                                        <p:tav tm="100000">
                                          <p:val>
                                            <p:strVal val="#ppt_x"/>
                                          </p:val>
                                        </p:tav>
                                      </p:tavLst>
                                    </p:anim>
                                    <p:anim calcmode="lin" valueType="num">
                                      <p:cBhvr additive="base">
                                        <p:cTn id="8" dur="750" fill="hold"/>
                                        <p:tgtEl>
                                          <p:spTgt spid="31"/>
                                        </p:tgtEl>
                                        <p:attrNameLst>
                                          <p:attrName>ppt_y</p:attrName>
                                        </p:attrNameLst>
                                      </p:cBhvr>
                                      <p:tavLst>
                                        <p:tav tm="0">
                                          <p:val>
                                            <p:strVal val="#ppt_y"/>
                                          </p:val>
                                        </p:tav>
                                        <p:tav tm="100000">
                                          <p:val>
                                            <p:strVal val="#ppt_y"/>
                                          </p:val>
                                        </p:tav>
                                      </p:tavLst>
                                    </p:anim>
                                  </p:childTnLst>
                                </p:cTn>
                              </p:par>
                            </p:childTnLst>
                          </p:cTn>
                        </p:par>
                        <p:par>
                          <p:cTn id="9" fill="hold">
                            <p:stCondLst>
                              <p:cond delay="750"/>
                            </p:stCondLst>
                            <p:childTnLst>
                              <p:par>
                                <p:cTn id="10" presetID="2" presetClass="entr" presetSubtype="2" decel="100000" fill="hold" nodeType="afterEffect">
                                  <p:stCondLst>
                                    <p:cond delay="0"/>
                                  </p:stCondLst>
                                  <p:childTnLst>
                                    <p:set>
                                      <p:cBhvr>
                                        <p:cTn id="11" dur="1" fill="hold">
                                          <p:stCondLst>
                                            <p:cond delay="0"/>
                                          </p:stCondLst>
                                        </p:cTn>
                                        <p:tgtEl>
                                          <p:spTgt spid="38"/>
                                        </p:tgtEl>
                                        <p:attrNameLst>
                                          <p:attrName>style.visibility</p:attrName>
                                        </p:attrNameLst>
                                      </p:cBhvr>
                                      <p:to>
                                        <p:strVal val="visible"/>
                                      </p:to>
                                    </p:set>
                                    <p:anim calcmode="lin" valueType="num">
                                      <p:cBhvr additive="base">
                                        <p:cTn id="12" dur="750" fill="hold"/>
                                        <p:tgtEl>
                                          <p:spTgt spid="38"/>
                                        </p:tgtEl>
                                        <p:attrNameLst>
                                          <p:attrName>ppt_x</p:attrName>
                                        </p:attrNameLst>
                                      </p:cBhvr>
                                      <p:tavLst>
                                        <p:tav tm="0">
                                          <p:val>
                                            <p:strVal val="1+#ppt_w/2"/>
                                          </p:val>
                                        </p:tav>
                                        <p:tav tm="100000">
                                          <p:val>
                                            <p:strVal val="#ppt_x"/>
                                          </p:val>
                                        </p:tav>
                                      </p:tavLst>
                                    </p:anim>
                                    <p:anim calcmode="lin" valueType="num">
                                      <p:cBhvr additive="base">
                                        <p:cTn id="13" dur="750" fill="hold"/>
                                        <p:tgtEl>
                                          <p:spTgt spid="38"/>
                                        </p:tgtEl>
                                        <p:attrNameLst>
                                          <p:attrName>ppt_y</p:attrName>
                                        </p:attrNameLst>
                                      </p:cBhvr>
                                      <p:tavLst>
                                        <p:tav tm="0">
                                          <p:val>
                                            <p:strVal val="#ppt_y"/>
                                          </p:val>
                                        </p:tav>
                                        <p:tav tm="100000">
                                          <p:val>
                                            <p:strVal val="#ppt_y"/>
                                          </p:val>
                                        </p:tav>
                                      </p:tavLst>
                                    </p:anim>
                                  </p:childTnLst>
                                </p:cTn>
                              </p:par>
                            </p:childTnLst>
                          </p:cTn>
                        </p:par>
                        <p:par>
                          <p:cTn id="14" fill="hold">
                            <p:stCondLst>
                              <p:cond delay="1500"/>
                            </p:stCondLst>
                            <p:childTnLst>
                              <p:par>
                                <p:cTn id="15" presetID="2" presetClass="entr" presetSubtype="2" decel="100000" fill="hold" nodeType="afterEffect">
                                  <p:stCondLst>
                                    <p:cond delay="0"/>
                                  </p:stCondLst>
                                  <p:childTnLst>
                                    <p:set>
                                      <p:cBhvr>
                                        <p:cTn id="16" dur="1" fill="hold">
                                          <p:stCondLst>
                                            <p:cond delay="0"/>
                                          </p:stCondLst>
                                        </p:cTn>
                                        <p:tgtEl>
                                          <p:spTgt spid="42"/>
                                        </p:tgtEl>
                                        <p:attrNameLst>
                                          <p:attrName>style.visibility</p:attrName>
                                        </p:attrNameLst>
                                      </p:cBhvr>
                                      <p:to>
                                        <p:strVal val="visible"/>
                                      </p:to>
                                    </p:set>
                                    <p:anim calcmode="lin" valueType="num">
                                      <p:cBhvr additive="base">
                                        <p:cTn id="17" dur="750" fill="hold"/>
                                        <p:tgtEl>
                                          <p:spTgt spid="42"/>
                                        </p:tgtEl>
                                        <p:attrNameLst>
                                          <p:attrName>ppt_x</p:attrName>
                                        </p:attrNameLst>
                                      </p:cBhvr>
                                      <p:tavLst>
                                        <p:tav tm="0">
                                          <p:val>
                                            <p:strVal val="1+#ppt_w/2"/>
                                          </p:val>
                                        </p:tav>
                                        <p:tav tm="100000">
                                          <p:val>
                                            <p:strVal val="#ppt_x"/>
                                          </p:val>
                                        </p:tav>
                                      </p:tavLst>
                                    </p:anim>
                                    <p:anim calcmode="lin" valueType="num">
                                      <p:cBhvr additive="base">
                                        <p:cTn id="18" dur="750" fill="hold"/>
                                        <p:tgtEl>
                                          <p:spTgt spid="42"/>
                                        </p:tgtEl>
                                        <p:attrNameLst>
                                          <p:attrName>ppt_y</p:attrName>
                                        </p:attrNameLst>
                                      </p:cBhvr>
                                      <p:tavLst>
                                        <p:tav tm="0">
                                          <p:val>
                                            <p:strVal val="#ppt_y"/>
                                          </p:val>
                                        </p:tav>
                                        <p:tav tm="100000">
                                          <p:val>
                                            <p:strVal val="#ppt_y"/>
                                          </p:val>
                                        </p:tav>
                                      </p:tavLst>
                                    </p:anim>
                                  </p:childTnLst>
                                </p:cTn>
                              </p:par>
                            </p:childTnLst>
                          </p:cTn>
                        </p:par>
                        <p:par>
                          <p:cTn id="19" fill="hold">
                            <p:stCondLst>
                              <p:cond delay="2250"/>
                            </p:stCondLst>
                            <p:childTnLst>
                              <p:par>
                                <p:cTn id="20" presetID="2" presetClass="entr" presetSubtype="2" decel="100000" fill="hold" nodeType="afterEffect">
                                  <p:stCondLst>
                                    <p:cond delay="0"/>
                                  </p:stCondLst>
                                  <p:childTnLst>
                                    <p:set>
                                      <p:cBhvr>
                                        <p:cTn id="21" dur="1" fill="hold">
                                          <p:stCondLst>
                                            <p:cond delay="0"/>
                                          </p:stCondLst>
                                        </p:cTn>
                                        <p:tgtEl>
                                          <p:spTgt spid="46"/>
                                        </p:tgtEl>
                                        <p:attrNameLst>
                                          <p:attrName>style.visibility</p:attrName>
                                        </p:attrNameLst>
                                      </p:cBhvr>
                                      <p:to>
                                        <p:strVal val="visible"/>
                                      </p:to>
                                    </p:set>
                                    <p:anim calcmode="lin" valueType="num">
                                      <p:cBhvr additive="base">
                                        <p:cTn id="22" dur="750" fill="hold"/>
                                        <p:tgtEl>
                                          <p:spTgt spid="46"/>
                                        </p:tgtEl>
                                        <p:attrNameLst>
                                          <p:attrName>ppt_x</p:attrName>
                                        </p:attrNameLst>
                                      </p:cBhvr>
                                      <p:tavLst>
                                        <p:tav tm="0">
                                          <p:val>
                                            <p:strVal val="1+#ppt_w/2"/>
                                          </p:val>
                                        </p:tav>
                                        <p:tav tm="100000">
                                          <p:val>
                                            <p:strVal val="#ppt_x"/>
                                          </p:val>
                                        </p:tav>
                                      </p:tavLst>
                                    </p:anim>
                                    <p:anim calcmode="lin" valueType="num">
                                      <p:cBhvr additive="base">
                                        <p:cTn id="23" dur="750" fill="hold"/>
                                        <p:tgtEl>
                                          <p:spTgt spid="46"/>
                                        </p:tgtEl>
                                        <p:attrNameLst>
                                          <p:attrName>ppt_y</p:attrName>
                                        </p:attrNameLst>
                                      </p:cBhvr>
                                      <p:tavLst>
                                        <p:tav tm="0">
                                          <p:val>
                                            <p:strVal val="#ppt_y"/>
                                          </p:val>
                                        </p:tav>
                                        <p:tav tm="100000">
                                          <p:val>
                                            <p:strVal val="#ppt_y"/>
                                          </p:val>
                                        </p:tav>
                                      </p:tavLst>
                                    </p:anim>
                                  </p:childTnLst>
                                </p:cTn>
                              </p:par>
                            </p:childTnLst>
                          </p:cTn>
                        </p:par>
                        <p:par>
                          <p:cTn id="24" fill="hold">
                            <p:stCondLst>
                              <p:cond delay="3000"/>
                            </p:stCondLst>
                            <p:childTnLst>
                              <p:par>
                                <p:cTn id="25" presetID="2" presetClass="entr" presetSubtype="4" decel="100000" fill="hold" grpId="0" nodeType="afterEffect">
                                  <p:stCondLst>
                                    <p:cond delay="0"/>
                                  </p:stCondLst>
                                  <p:childTnLst>
                                    <p:set>
                                      <p:cBhvr>
                                        <p:cTn id="26" dur="1" fill="hold">
                                          <p:stCondLst>
                                            <p:cond delay="0"/>
                                          </p:stCondLst>
                                        </p:cTn>
                                        <p:tgtEl>
                                          <p:spTgt spid="52"/>
                                        </p:tgtEl>
                                        <p:attrNameLst>
                                          <p:attrName>style.visibility</p:attrName>
                                        </p:attrNameLst>
                                      </p:cBhvr>
                                      <p:to>
                                        <p:strVal val="visible"/>
                                      </p:to>
                                    </p:set>
                                    <p:anim calcmode="lin" valueType="num">
                                      <p:cBhvr additive="base">
                                        <p:cTn id="27" dur="750" fill="hold"/>
                                        <p:tgtEl>
                                          <p:spTgt spid="52"/>
                                        </p:tgtEl>
                                        <p:attrNameLst>
                                          <p:attrName>ppt_x</p:attrName>
                                        </p:attrNameLst>
                                      </p:cBhvr>
                                      <p:tavLst>
                                        <p:tav tm="0">
                                          <p:val>
                                            <p:strVal val="#ppt_x"/>
                                          </p:val>
                                        </p:tav>
                                        <p:tav tm="100000">
                                          <p:val>
                                            <p:strVal val="#ppt_x"/>
                                          </p:val>
                                        </p:tav>
                                      </p:tavLst>
                                    </p:anim>
                                    <p:anim calcmode="lin" valueType="num">
                                      <p:cBhvr additive="base">
                                        <p:cTn id="28" dur="750" fill="hold"/>
                                        <p:tgtEl>
                                          <p:spTgt spid="5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MM_SLIDE_TYPE" val="6"/>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MM_SLIDE_TYPE" val="6"/>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M_SLIDE_TYPE" val="6"/>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MM_SLIDE_TYPE" val="6"/>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MM_SLIDE_TYPE" val="6"/>
</p:tagLst>
</file>

<file path=ppt/theme/theme1.xml><?xml version="1.0" encoding="utf-8"?>
<a:theme xmlns:a="http://schemas.openxmlformats.org/drawingml/2006/main" name="Office Theme">
  <a:themeElements>
    <a:clrScheme name="Custom 3">
      <a:dk1>
        <a:sysClr val="windowText" lastClr="000000"/>
      </a:dk1>
      <a:lt1>
        <a:sysClr val="window" lastClr="FFFFFF"/>
      </a:lt1>
      <a:dk2>
        <a:srgbClr val="336699"/>
      </a:dk2>
      <a:lt2>
        <a:srgbClr val="E7E6E6"/>
      </a:lt2>
      <a:accent1>
        <a:srgbClr val="336699"/>
      </a:accent1>
      <a:accent2>
        <a:srgbClr val="E8D03B"/>
      </a:accent2>
      <a:accent3>
        <a:srgbClr val="27AB6B"/>
      </a:accent3>
      <a:accent4>
        <a:srgbClr val="F68958"/>
      </a:accent4>
      <a:accent5>
        <a:srgbClr val="BBBCBE"/>
      </a:accent5>
      <a:accent6>
        <a:srgbClr val="93BCC2"/>
      </a:accent6>
      <a:hlink>
        <a:srgbClr val="0563C1"/>
      </a:hlink>
      <a:folHlink>
        <a:srgbClr val="954F72"/>
      </a:folHlink>
    </a:clrScheme>
    <a:fontScheme name="Custom 6">
      <a:majorFont>
        <a:latin typeface="Oswa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37D99D26B411942B55B1F046B7097FB" ma:contentTypeVersion="19" ma:contentTypeDescription="Create a new document." ma:contentTypeScope="" ma:versionID="b407dc37eeeb321a9f82abef264989da">
  <xsd:schema xmlns:xsd="http://www.w3.org/2001/XMLSchema" xmlns:xs="http://www.w3.org/2001/XMLSchema" xmlns:p="http://schemas.microsoft.com/office/2006/metadata/properties" xmlns:ns1="http://schemas.microsoft.com/sharepoint/v3" xmlns:ns2="e315b9c7-21d7-40fb-a53d-0e7bcde304a0" xmlns:ns3="c9e9cab2-11bf-4b48-a0f3-428e82195aef" targetNamespace="http://schemas.microsoft.com/office/2006/metadata/properties" ma:root="true" ma:fieldsID="93544baf8556beb6105baf2778496e4f" ns1:_="" ns2:_="" ns3:_="">
    <xsd:import namespace="http://schemas.microsoft.com/sharepoint/v3"/>
    <xsd:import namespace="e315b9c7-21d7-40fb-a53d-0e7bcde304a0"/>
    <xsd:import namespace="c9e9cab2-11bf-4b48-a0f3-428e82195aef"/>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LengthInSeconds" minOccurs="0"/>
                <xsd:element ref="ns1:_ip_UnifiedCompliancePolicyProperties" minOccurs="0"/>
                <xsd:element ref="ns1:_ip_UnifiedCompliancePolicyUIAction" minOccurs="0"/>
                <xsd:element ref="ns3:MediaServiceAutoTags" minOccurs="0"/>
                <xsd:element ref="ns3:MediaServiceGenerationTime" minOccurs="0"/>
                <xsd:element ref="ns3:MediaServiceEventHashCode" minOccurs="0"/>
                <xsd:element ref="ns3:MediaServiceOCR" minOccurs="0"/>
                <xsd:element ref="ns3:MediaServiceLocation" minOccurs="0"/>
                <xsd:element ref="ns3:lcf76f155ced4ddcb4097134ff3c332f" minOccurs="0"/>
                <xsd:element ref="ns2:TaxCatchAll"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6" nillable="true" ma:displayName="Unified Compliance Policy Properties" ma:hidden="true" ma:internalName="_ip_UnifiedCompliancePolicyProperties">
      <xsd:simpleType>
        <xsd:restriction base="dms:Note"/>
      </xsd:simpleType>
    </xsd:element>
    <xsd:element name="_ip_UnifiedCompliancePolicyUIAction" ma:index="1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315b9c7-21d7-40fb-a53d-0e7bcde304a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25" nillable="true" ma:displayName="Taxonomy Catch All Column" ma:hidden="true" ma:list="{45fcdea5-ae55-4687-9a8a-cb8629acb459}" ma:internalName="TaxCatchAll" ma:showField="CatchAllData" ma:web="e315b9c7-21d7-40fb-a53d-0e7bcde304a0">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c9e9cab2-11bf-4b48-a0f3-428e82195aef"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Length (seconds)" ma:internalName="MediaLengthInSeconds" ma:readOnly="true">
      <xsd:simpleType>
        <xsd:restriction base="dms:Unknown"/>
      </xsd:simpleType>
    </xsd:element>
    <xsd:element name="MediaServiceAutoTags" ma:index="18" nillable="true" ma:displayName="Tags" ma:internalName="MediaServiceAutoTags"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element name="MediaServiceLocation" ma:index="22" nillable="true" ma:displayName="Location" ma:internalName="MediaServiceLocation" ma:readOnly="true">
      <xsd:simpleType>
        <xsd:restriction base="dms:Text"/>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650992b0-a4b4-4be0-8ccb-f7811996a7b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6" nillable="true" ma:displayName="MediaServiceObjectDetectorVersions" ma:description=""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c9e9cab2-11bf-4b48-a0f3-428e82195aef">
      <Terms xmlns="http://schemas.microsoft.com/office/infopath/2007/PartnerControls"/>
    </lcf76f155ced4ddcb4097134ff3c332f>
    <TaxCatchAll xmlns="e315b9c7-21d7-40fb-a53d-0e7bcde304a0" xsi:nil="true"/>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54D3A725-BFA7-4083-9238-62340146350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315b9c7-21d7-40fb-a53d-0e7bcde304a0"/>
    <ds:schemaRef ds:uri="c9e9cab2-11bf-4b48-a0f3-428e82195ae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11C98CA-8832-47D6-A579-FE81AB12F906}">
  <ds:schemaRefs>
    <ds:schemaRef ds:uri="http://schemas.microsoft.com/sharepoint/v3/contenttype/forms"/>
  </ds:schemaRefs>
</ds:datastoreItem>
</file>

<file path=customXml/itemProps3.xml><?xml version="1.0" encoding="utf-8"?>
<ds:datastoreItem xmlns:ds="http://schemas.openxmlformats.org/officeDocument/2006/customXml" ds:itemID="{EDB7B2CE-2B6F-4505-A184-B32D0354C5C0}">
  <ds:schemaRefs>
    <ds:schemaRef ds:uri="http://schemas.microsoft.com/office/2006/metadata/properties"/>
    <ds:schemaRef ds:uri="http://schemas.microsoft.com/office/2006/documentManagement/types"/>
    <ds:schemaRef ds:uri="http://schemas.openxmlformats.org/package/2006/metadata/core-properties"/>
    <ds:schemaRef ds:uri="http://purl.org/dc/dcmitype/"/>
    <ds:schemaRef ds:uri="bd1902ee-6756-4d36-b540-3a9c409ec09b"/>
    <ds:schemaRef ds:uri="49497357-254f-471c-a2b2-95e69344f790"/>
    <ds:schemaRef ds:uri="http://purl.org/dc/elements/1.1/"/>
    <ds:schemaRef ds:uri="http://schemas.microsoft.com/office/infopath/2007/PartnerControls"/>
    <ds:schemaRef ds:uri="http://www.w3.org/XML/1998/namespace"/>
    <ds:schemaRef ds:uri="http://purl.org/dc/terms/"/>
    <ds:schemaRef ds:uri="c9e9cab2-11bf-4b48-a0f3-428e82195aef"/>
    <ds:schemaRef ds:uri="e315b9c7-21d7-40fb-a53d-0e7bcde304a0"/>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otalTime>532</TotalTime>
  <Words>734</Words>
  <Application>Microsoft Office PowerPoint</Application>
  <PresentationFormat>Widescreen</PresentationFormat>
  <Paragraphs>101</Paragraphs>
  <Slides>7</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5" baseType="lpstr">
      <vt:lpstr>Arial</vt:lpstr>
      <vt:lpstr>Calibri</vt:lpstr>
      <vt:lpstr>Gill Sans</vt:lpstr>
      <vt:lpstr>Open Sans</vt:lpstr>
      <vt:lpstr>Oswald</vt:lpstr>
      <vt:lpstr>Public Sans</vt:lpstr>
      <vt:lpstr>Office Theme</vt:lpstr>
      <vt:lpstr>think-cell Slide</vt:lpstr>
      <vt:lpstr>Financial Wellness Begins With Education</vt:lpstr>
      <vt:lpstr>Disclosure</vt:lpstr>
      <vt:lpstr>The Need for Educational Financial Wellness</vt:lpstr>
      <vt:lpstr>How the Tuition Rewards Program Works</vt:lpstr>
      <vt:lpstr>Clients can earn Tuition Rewards in a variety of ways </vt:lpstr>
      <vt:lpstr>Bringing Colleges &amp; Students Together</vt:lpstr>
      <vt:lpstr>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ayathri S</dc:creator>
  <cp:lastModifiedBy>Trudeau, Hannah</cp:lastModifiedBy>
  <cp:revision>46</cp:revision>
  <cp:lastPrinted>2023-02-24T21:28:44Z</cp:lastPrinted>
  <dcterms:created xsi:type="dcterms:W3CDTF">2023-01-11T07:21:05Z</dcterms:created>
  <dcterms:modified xsi:type="dcterms:W3CDTF">2023-12-15T16:12: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37D99D26B411942B55B1F046B7097FB</vt:lpwstr>
  </property>
  <property fmtid="{D5CDD505-2E9C-101B-9397-08002B2CF9AE}" pid="3" name="MediaServiceImageTags">
    <vt:lpwstr/>
  </property>
  <property fmtid="{D5CDD505-2E9C-101B-9397-08002B2CF9AE}" pid="4" name="MSIP_Label_1f1df539-6093-4ec5-baaa-eb0dcc11254e_Enabled">
    <vt:lpwstr>true</vt:lpwstr>
  </property>
  <property fmtid="{D5CDD505-2E9C-101B-9397-08002B2CF9AE}" pid="5" name="MSIP_Label_1f1df539-6093-4ec5-baaa-eb0dcc11254e_SetDate">
    <vt:lpwstr>2023-02-24T21:29:03Z</vt:lpwstr>
  </property>
  <property fmtid="{D5CDD505-2E9C-101B-9397-08002B2CF9AE}" pid="6" name="MSIP_Label_1f1df539-6093-4ec5-baaa-eb0dcc11254e_Method">
    <vt:lpwstr>Standard</vt:lpwstr>
  </property>
  <property fmtid="{D5CDD505-2E9C-101B-9397-08002B2CF9AE}" pid="7" name="MSIP_Label_1f1df539-6093-4ec5-baaa-eb0dcc11254e_Name">
    <vt:lpwstr>General</vt:lpwstr>
  </property>
  <property fmtid="{D5CDD505-2E9C-101B-9397-08002B2CF9AE}" pid="8" name="MSIP_Label_1f1df539-6093-4ec5-baaa-eb0dcc11254e_SiteId">
    <vt:lpwstr>649fc29a-ece3-4a3b-a3c1-680a2f035a6e</vt:lpwstr>
  </property>
  <property fmtid="{D5CDD505-2E9C-101B-9397-08002B2CF9AE}" pid="9" name="MSIP_Label_1f1df539-6093-4ec5-baaa-eb0dcc11254e_ActionId">
    <vt:lpwstr>86f16a1b-9f96-43ee-b40c-f6f11cce062f</vt:lpwstr>
  </property>
  <property fmtid="{D5CDD505-2E9C-101B-9397-08002B2CF9AE}" pid="10" name="MSIP_Label_1f1df539-6093-4ec5-baaa-eb0dcc11254e_ContentBits">
    <vt:lpwstr>0</vt:lpwstr>
  </property>
</Properties>
</file>